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5.xml" ContentType="application/vnd.openxmlformats-officedocument.them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7" r:id="rId2"/>
    <p:sldMasterId id="2147483703" r:id="rId3"/>
    <p:sldMasterId id="2147483740" r:id="rId4"/>
    <p:sldMasterId id="2147483755" r:id="rId5"/>
  </p:sldMasterIdLst>
  <p:notesMasterIdLst>
    <p:notesMasterId r:id="rId28"/>
  </p:notesMasterIdLst>
  <p:sldIdLst>
    <p:sldId id="2147475313" r:id="rId6"/>
    <p:sldId id="2147477960" r:id="rId7"/>
    <p:sldId id="2147477952" r:id="rId8"/>
    <p:sldId id="2147477966" r:id="rId9"/>
    <p:sldId id="2147477958" r:id="rId10"/>
    <p:sldId id="2147477963" r:id="rId11"/>
    <p:sldId id="2147477956" r:id="rId12"/>
    <p:sldId id="2147477954" r:id="rId13"/>
    <p:sldId id="2147477957" r:id="rId14"/>
    <p:sldId id="2147477962" r:id="rId15"/>
    <p:sldId id="2147477964" r:id="rId16"/>
    <p:sldId id="2147475314" r:id="rId17"/>
    <p:sldId id="2147477290" r:id="rId18"/>
    <p:sldId id="2147477970" r:id="rId19"/>
    <p:sldId id="2147477969" r:id="rId20"/>
    <p:sldId id="2147477972" r:id="rId21"/>
    <p:sldId id="2147477965" r:id="rId22"/>
    <p:sldId id="2147477968" r:id="rId23"/>
    <p:sldId id="2147477967" r:id="rId24"/>
    <p:sldId id="2147477971" r:id="rId25"/>
    <p:sldId id="263" r:id="rId26"/>
    <p:sldId id="296" r:id="rId27"/>
  </p:sldIdLst>
  <p:sldSz cx="12192000" cy="6858000"/>
  <p:notesSz cx="6858000" cy="9144000"/>
  <p:defaultTextStyle>
    <a:defPPr>
      <a:defRPr lang="en-P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5654"/>
    <a:srgbClr val="008000"/>
    <a:srgbClr val="D1FF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27" autoAdjust="0"/>
    <p:restoredTop sz="95326" autoAdjust="0"/>
  </p:normalViewPr>
  <p:slideViewPr>
    <p:cSldViewPr snapToGrid="0">
      <p:cViewPr>
        <p:scale>
          <a:sx n="70" d="100"/>
          <a:sy n="70" d="100"/>
        </p:scale>
        <p:origin x="1344" y="19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P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FFC0AD-D9B3-4655-B48D-CFD2EE55A899}" type="datetimeFigureOut">
              <a:rPr lang="en-PK" smtClean="0"/>
              <a:t>02/02/2024</a:t>
            </a:fld>
            <a:endParaRPr lang="en-P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P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P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1B1B4F-F6FB-4EFA-B93D-FB386E700FCD}" type="slidenum">
              <a:rPr lang="en-PK" smtClean="0"/>
              <a:t>‹#›</a:t>
            </a:fld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33468066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10" Type="http://schemas.openxmlformats.org/officeDocument/2006/relationships/image" Target="../media/image3.emf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3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4" Type="http://schemas.openxmlformats.org/officeDocument/2006/relationships/tags" Target="../tags/tag30.xml"/><Relationship Id="rId9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4.v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10" Type="http://schemas.openxmlformats.org/officeDocument/2006/relationships/image" Target="../media/image3.emf"/><Relationship Id="rId4" Type="http://schemas.openxmlformats.org/officeDocument/2006/relationships/tags" Target="../tags/tag35.xml"/><Relationship Id="rId9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5.v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10" Type="http://schemas.openxmlformats.org/officeDocument/2006/relationships/image" Target="../media/image4.emf"/><Relationship Id="rId4" Type="http://schemas.openxmlformats.org/officeDocument/2006/relationships/tags" Target="../tags/tag41.xml"/><Relationship Id="rId9" Type="http://schemas.openxmlformats.org/officeDocument/2006/relationships/oleObject" Target="../embeddings/oleObject5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vmlDrawing" Target="../drawings/vmlDrawing6.v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10" Type="http://schemas.openxmlformats.org/officeDocument/2006/relationships/image" Target="../media/image4.emf"/><Relationship Id="rId4" Type="http://schemas.openxmlformats.org/officeDocument/2006/relationships/tags" Target="../tags/tag47.xml"/><Relationship Id="rId9" Type="http://schemas.openxmlformats.org/officeDocument/2006/relationships/oleObject" Target="../embeddings/oleObject6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2" Type="http://schemas.openxmlformats.org/officeDocument/2006/relationships/tags" Target="../tags/tag51.xml"/><Relationship Id="rId1" Type="http://schemas.openxmlformats.org/officeDocument/2006/relationships/vmlDrawing" Target="../drawings/vmlDrawing7.vml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10" Type="http://schemas.openxmlformats.org/officeDocument/2006/relationships/image" Target="../media/image4.emf"/><Relationship Id="rId4" Type="http://schemas.openxmlformats.org/officeDocument/2006/relationships/tags" Target="../tags/tag53.xml"/><Relationship Id="rId9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8.vml"/><Relationship Id="rId6" Type="http://schemas.openxmlformats.org/officeDocument/2006/relationships/tags" Target="../tags/tag61.xml"/><Relationship Id="rId11" Type="http://schemas.openxmlformats.org/officeDocument/2006/relationships/image" Target="../media/image4.emf"/><Relationship Id="rId5" Type="http://schemas.openxmlformats.org/officeDocument/2006/relationships/tags" Target="../tags/tag60.xml"/><Relationship Id="rId10" Type="http://schemas.openxmlformats.org/officeDocument/2006/relationships/oleObject" Target="../embeddings/oleObject8.bin"/><Relationship Id="rId4" Type="http://schemas.openxmlformats.org/officeDocument/2006/relationships/tags" Target="../tags/tag59.xml"/><Relationship Id="rId9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image" Target="../media/image3.emf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12" Type="http://schemas.openxmlformats.org/officeDocument/2006/relationships/oleObject" Target="../embeddings/oleObject9.bin"/><Relationship Id="rId2" Type="http://schemas.openxmlformats.org/officeDocument/2006/relationships/tags" Target="../tags/tag64.xml"/><Relationship Id="rId1" Type="http://schemas.openxmlformats.org/officeDocument/2006/relationships/vmlDrawing" Target="../drawings/vmlDrawing9.vml"/><Relationship Id="rId6" Type="http://schemas.openxmlformats.org/officeDocument/2006/relationships/tags" Target="../tags/tag68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67.xml"/><Relationship Id="rId10" Type="http://schemas.openxmlformats.org/officeDocument/2006/relationships/tags" Target="../tags/tag72.xml"/><Relationship Id="rId4" Type="http://schemas.openxmlformats.org/officeDocument/2006/relationships/tags" Target="../tags/tag66.xml"/><Relationship Id="rId9" Type="http://schemas.openxmlformats.org/officeDocument/2006/relationships/tags" Target="../tags/tag7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image" Target="../media/image3.emf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oleObject" Target="../embeddings/oleObject10.bin"/><Relationship Id="rId2" Type="http://schemas.openxmlformats.org/officeDocument/2006/relationships/tags" Target="../tags/tag73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7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76.xml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13" Type="http://schemas.openxmlformats.org/officeDocument/2006/relationships/slideMaster" Target="../slideMasters/slideMaster2.xml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12" Type="http://schemas.openxmlformats.org/officeDocument/2006/relationships/tags" Target="../tags/tag92.xml"/><Relationship Id="rId2" Type="http://schemas.openxmlformats.org/officeDocument/2006/relationships/tags" Target="../tags/tag82.xml"/><Relationship Id="rId1" Type="http://schemas.openxmlformats.org/officeDocument/2006/relationships/vmlDrawing" Target="../drawings/vmlDrawing11.vml"/><Relationship Id="rId6" Type="http://schemas.openxmlformats.org/officeDocument/2006/relationships/tags" Target="../tags/tag86.xml"/><Relationship Id="rId11" Type="http://schemas.openxmlformats.org/officeDocument/2006/relationships/tags" Target="../tags/tag91.xml"/><Relationship Id="rId5" Type="http://schemas.openxmlformats.org/officeDocument/2006/relationships/tags" Target="../tags/tag85.xml"/><Relationship Id="rId15" Type="http://schemas.openxmlformats.org/officeDocument/2006/relationships/image" Target="../media/image3.emf"/><Relationship Id="rId10" Type="http://schemas.openxmlformats.org/officeDocument/2006/relationships/tags" Target="../tags/tag90.xml"/><Relationship Id="rId4" Type="http://schemas.openxmlformats.org/officeDocument/2006/relationships/tags" Target="../tags/tag84.xml"/><Relationship Id="rId9" Type="http://schemas.openxmlformats.org/officeDocument/2006/relationships/tags" Target="../tags/tag89.xml"/><Relationship Id="rId14" Type="http://schemas.openxmlformats.org/officeDocument/2006/relationships/oleObject" Target="../embeddings/oleObject11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13" Type="http://schemas.openxmlformats.org/officeDocument/2006/relationships/slideMaster" Target="../slideMasters/slideMaster2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tags" Target="../tags/tag103.xml"/><Relationship Id="rId2" Type="http://schemas.openxmlformats.org/officeDocument/2006/relationships/tags" Target="../tags/tag93.xml"/><Relationship Id="rId1" Type="http://schemas.openxmlformats.org/officeDocument/2006/relationships/vmlDrawing" Target="../drawings/vmlDrawing12.vml"/><Relationship Id="rId6" Type="http://schemas.openxmlformats.org/officeDocument/2006/relationships/tags" Target="../tags/tag97.xml"/><Relationship Id="rId11" Type="http://schemas.openxmlformats.org/officeDocument/2006/relationships/tags" Target="../tags/tag102.xml"/><Relationship Id="rId5" Type="http://schemas.openxmlformats.org/officeDocument/2006/relationships/tags" Target="../tags/tag96.xml"/><Relationship Id="rId15" Type="http://schemas.openxmlformats.org/officeDocument/2006/relationships/image" Target="../media/image5.emf"/><Relationship Id="rId10" Type="http://schemas.openxmlformats.org/officeDocument/2006/relationships/tags" Target="../tags/tag101.xml"/><Relationship Id="rId4" Type="http://schemas.openxmlformats.org/officeDocument/2006/relationships/tags" Target="../tags/tag95.xml"/><Relationship Id="rId9" Type="http://schemas.openxmlformats.org/officeDocument/2006/relationships/tags" Target="../tags/tag100.xml"/><Relationship Id="rId14" Type="http://schemas.openxmlformats.org/officeDocument/2006/relationships/oleObject" Target="../embeddings/oleObject12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oleObject" Target="../embeddings/oleObject13.bin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5" Type="http://schemas.openxmlformats.org/officeDocument/2006/relationships/tags" Target="../tags/tag107.xml"/><Relationship Id="rId10" Type="http://schemas.openxmlformats.org/officeDocument/2006/relationships/tags" Target="../tags/tag112.xml"/><Relationship Id="rId4" Type="http://schemas.openxmlformats.org/officeDocument/2006/relationships/tags" Target="../tags/tag106.xml"/><Relationship Id="rId9" Type="http://schemas.openxmlformats.org/officeDocument/2006/relationships/tags" Target="../tags/tag111.xml"/><Relationship Id="rId14" Type="http://schemas.openxmlformats.org/officeDocument/2006/relationships/image" Target="../media/image3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5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14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17.xml"/><Relationship Id="rId4" Type="http://schemas.openxmlformats.org/officeDocument/2006/relationships/tags" Target="../tags/tag11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19.xml"/><Relationship Id="rId7" Type="http://schemas.openxmlformats.org/officeDocument/2006/relationships/tags" Target="../tags/tag123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22.xml"/><Relationship Id="rId5" Type="http://schemas.openxmlformats.org/officeDocument/2006/relationships/tags" Target="../tags/tag121.xml"/><Relationship Id="rId10" Type="http://schemas.openxmlformats.org/officeDocument/2006/relationships/image" Target="../media/image4.emf"/><Relationship Id="rId4" Type="http://schemas.openxmlformats.org/officeDocument/2006/relationships/tags" Target="../tags/tag120.xml"/><Relationship Id="rId9" Type="http://schemas.openxmlformats.org/officeDocument/2006/relationships/oleObject" Target="../embeddings/oleObject15.bin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28.xml"/><Relationship Id="rId5" Type="http://schemas.openxmlformats.org/officeDocument/2006/relationships/tags" Target="../tags/tag127.xml"/><Relationship Id="rId10" Type="http://schemas.openxmlformats.org/officeDocument/2006/relationships/image" Target="../media/image4.emf"/><Relationship Id="rId4" Type="http://schemas.openxmlformats.org/officeDocument/2006/relationships/tags" Target="../tags/tag126.xml"/><Relationship Id="rId9" Type="http://schemas.openxmlformats.org/officeDocument/2006/relationships/oleObject" Target="../embeddings/oleObject1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131.xml"/><Relationship Id="rId7" Type="http://schemas.openxmlformats.org/officeDocument/2006/relationships/tags" Target="../tags/tag135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34.xml"/><Relationship Id="rId5" Type="http://schemas.openxmlformats.org/officeDocument/2006/relationships/tags" Target="../tags/tag133.xml"/><Relationship Id="rId10" Type="http://schemas.openxmlformats.org/officeDocument/2006/relationships/image" Target="../media/image4.emf"/><Relationship Id="rId4" Type="http://schemas.openxmlformats.org/officeDocument/2006/relationships/tags" Target="../tags/tag132.xml"/><Relationship Id="rId9" Type="http://schemas.openxmlformats.org/officeDocument/2006/relationships/oleObject" Target="../embeddings/oleObject17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992187"/>
          </a:xfrm>
        </p:spPr>
        <p:txBody>
          <a:bodyPr anchor="b">
            <a:normAutofit/>
          </a:bodyPr>
          <a:lstStyle>
            <a:lvl1pPr algn="ctr">
              <a:defRPr sz="4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2276158"/>
            <a:ext cx="9144000" cy="478472"/>
          </a:xfrm>
        </p:spPr>
        <p:txBody>
          <a:bodyPr>
            <a:normAutofit/>
          </a:bodyPr>
          <a:lstStyle>
            <a:lvl1pPr marL="0" indent="0" algn="ctr">
              <a:buNone/>
              <a:defRPr sz="2000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37E9E-3CA9-41BE-B95E-96FACE3A59E5}" type="datetime1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AFDD3D-E1F5-4B3E-98E3-C7999D8EA369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D55180A-1FD4-422C-9009-D896EEE715A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2099" y="3281998"/>
            <a:ext cx="1727802" cy="153989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EEF870D-1B29-67A8-B568-2B92D4B4BD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2099" y="3281998"/>
            <a:ext cx="1727802" cy="153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2130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F014F7-598E-4BED-85FF-DB6EDEA7FE9D}" type="datetime1">
              <a:rPr lang="en-US" smtClean="0"/>
              <a:t>2/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AFDD3D-E1F5-4B3E-98E3-C7999D8EA3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6435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21B6DD-6D37-4406-B158-24D58129302C}" type="datetime1">
              <a:rPr lang="en-US" smtClean="0"/>
              <a:t>2/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AFDD3D-E1F5-4B3E-98E3-C7999D8EA3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4396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76CEB8-A4A0-4B4F-9088-80A4B7A0C1C3}" type="datetime1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AFDD3D-E1F5-4B3E-98E3-C7999D8EA3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71800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15818-FA08-48F7-95F8-CF57B6188C74}" type="datetime1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AFDD3D-E1F5-4B3E-98E3-C7999D8EA3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1480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103152"/>
            <a:ext cx="10160065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7582575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0800" y="5369239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47688" y="4951630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1" y="4153476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6BBE091D-712C-4217-8ACC-0D726A9E4244}"/>
              </a:ext>
            </a:extLst>
          </p:cNvPr>
          <p:cNvSpPr txBox="1">
            <a:spLocks/>
          </p:cNvSpPr>
          <p:nvPr userDrawn="1"/>
        </p:nvSpPr>
        <p:spPr>
          <a:xfrm>
            <a:off x="567614" y="6528816"/>
            <a:ext cx="987450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vt. of the Punjab</a:t>
            </a:r>
          </a:p>
        </p:txBody>
      </p:sp>
    </p:spTree>
    <p:extLst>
      <p:ext uri="{BB962C8B-B14F-4D97-AF65-F5344CB8AC3E}">
        <p14:creationId xmlns:p14="http://schemas.microsoft.com/office/powerpoint/2010/main" val="19536215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52803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F9993B8-5743-4B3A-9BEF-DD9C57A04F7F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44995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103152"/>
            <a:ext cx="10160065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F9993B8-5743-4B3A-9BEF-DD9C57A04F7F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29321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F9993B8-5743-4B3A-9BEF-DD9C57A04F7F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42733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6690" y="147956"/>
            <a:ext cx="11818620" cy="576618"/>
          </a:xfrm>
        </p:spPr>
        <p:txBody>
          <a:bodyPr>
            <a:noAutofit/>
          </a:bodyPr>
          <a:lstStyle>
            <a:lvl1pPr>
              <a:defRPr sz="2800" b="1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6690" y="892098"/>
            <a:ext cx="11818620" cy="5284865"/>
          </a:xfrm>
        </p:spPr>
        <p:txBody>
          <a:bodyPr>
            <a:normAutofit/>
          </a:bodyPr>
          <a:lstStyle>
            <a:lvl1pPr marL="228600" indent="-228600">
              <a:buFont typeface="Wingdings" panose="05000000000000000000" pitchFamily="2" charset="2"/>
              <a:buChar char="q"/>
              <a:defRPr sz="2000"/>
            </a:lvl1pPr>
            <a:lvl2pPr marL="685800" indent="-228600">
              <a:buFont typeface="Wingdings" panose="05000000000000000000" pitchFamily="2" charset="2"/>
              <a:buChar char="§"/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-3810" y="6538912"/>
            <a:ext cx="3394710" cy="365125"/>
          </a:xfrm>
        </p:spPr>
        <p:txBody>
          <a:bodyPr/>
          <a:lstStyle/>
          <a:p>
            <a:fld id="{3AEC14DF-5EA1-444B-9B0F-4305A09463E0}" type="datetime1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AFDD3D-E1F5-4B3E-98E3-C7999D8EA3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0979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F9993B8-5743-4B3A-9BEF-DD9C57A04F7F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74976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F9993B8-5743-4B3A-9BEF-DD9C57A04F7F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20537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3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F9993B8-5743-4B3A-9BEF-DD9C57A04F7F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57289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772DBDA-FB37-4E42-BF1B-A630FCA6154F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Left">
            <a:extLst>
              <a:ext uri="{FF2B5EF4-FFF2-40B4-BE49-F238E27FC236}">
                <a16:creationId xmlns:a16="http://schemas.microsoft.com/office/drawing/2014/main" id="{D19401A5-72E5-4C46-8FAA-8600CAC41277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937377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6BBE091D-712C-4217-8ACC-0D726A9E4244}"/>
              </a:ext>
            </a:extLst>
          </p:cNvPr>
          <p:cNvSpPr txBox="1">
            <a:spLocks/>
          </p:cNvSpPr>
          <p:nvPr userDrawn="1"/>
        </p:nvSpPr>
        <p:spPr>
          <a:xfrm>
            <a:off x="567614" y="6528816"/>
            <a:ext cx="987450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vt. of the Punjab</a:t>
            </a:r>
          </a:p>
        </p:txBody>
      </p:sp>
    </p:spTree>
    <p:extLst>
      <p:ext uri="{BB962C8B-B14F-4D97-AF65-F5344CB8AC3E}">
        <p14:creationId xmlns:p14="http://schemas.microsoft.com/office/powerpoint/2010/main" val="35327451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D6D9AAC-8287-4317-918C-6755B5E17803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Left">
            <a:extLst>
              <a:ext uri="{FF2B5EF4-FFF2-40B4-BE49-F238E27FC236}">
                <a16:creationId xmlns:a16="http://schemas.microsoft.com/office/drawing/2014/main" id="{04B50E07-5CF6-4FA4-80C0-5A97640377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937377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6BBE091D-712C-4217-8ACC-0D726A9E4244}"/>
              </a:ext>
            </a:extLst>
          </p:cNvPr>
          <p:cNvSpPr txBox="1">
            <a:spLocks/>
          </p:cNvSpPr>
          <p:nvPr userDrawn="1"/>
        </p:nvSpPr>
        <p:spPr>
          <a:xfrm>
            <a:off x="567614" y="6528816"/>
            <a:ext cx="987450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vt. of the Punjab</a:t>
            </a:r>
          </a:p>
        </p:txBody>
      </p:sp>
    </p:spTree>
    <p:extLst>
      <p:ext uri="{BB962C8B-B14F-4D97-AF65-F5344CB8AC3E}">
        <p14:creationId xmlns:p14="http://schemas.microsoft.com/office/powerpoint/2010/main" val="40610956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14" imgW="413" imgH="416" progId="TCLayout.ActiveDocument.1">
                  <p:embed/>
                </p:oleObj>
              </mc:Choice>
              <mc:Fallback>
                <p:oleObj name="think-cell Slide" r:id="rId1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519011"/>
            <a:ext cx="5065776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8" y="976471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281C890-544A-4E72-8093-FD345BC9BA7E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TopLineRight">
            <a:extLst>
              <a:ext uri="{FF2B5EF4-FFF2-40B4-BE49-F238E27FC236}">
                <a16:creationId xmlns:a16="http://schemas.microsoft.com/office/drawing/2014/main" id="{4621481D-27E5-4F87-B45B-41DC18907499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6573171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TopLineLeft">
            <a:extLst>
              <a:ext uri="{FF2B5EF4-FFF2-40B4-BE49-F238E27FC236}">
                <a16:creationId xmlns:a16="http://schemas.microsoft.com/office/drawing/2014/main" id="{29C45080-F0A3-4994-8BE9-0C272784001F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0324EE6-02E1-4789-BCBA-CEC16E7B160F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6BBE091D-712C-4217-8ACC-0D726A9E4244}"/>
              </a:ext>
            </a:extLst>
          </p:cNvPr>
          <p:cNvSpPr txBox="1">
            <a:spLocks/>
          </p:cNvSpPr>
          <p:nvPr userDrawn="1"/>
        </p:nvSpPr>
        <p:spPr>
          <a:xfrm>
            <a:off x="567614" y="6528816"/>
            <a:ext cx="1744067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idential – For Discussion only</a:t>
            </a:r>
          </a:p>
        </p:txBody>
      </p:sp>
    </p:spTree>
    <p:extLst>
      <p:ext uri="{BB962C8B-B14F-4D97-AF65-F5344CB8AC3E}">
        <p14:creationId xmlns:p14="http://schemas.microsoft.com/office/powerpoint/2010/main" val="410294867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14" imgW="572" imgH="588" progId="TCLayout.ActiveDocument.1">
                  <p:embed/>
                </p:oleObj>
              </mc:Choice>
              <mc:Fallback>
                <p:oleObj name="think-cell Slide" r:id="rId14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19011"/>
            <a:ext cx="6967728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8" y="976471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726724E-39EB-4427-A8AA-44412DA77211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Right">
            <a:extLst>
              <a:ext uri="{FF2B5EF4-FFF2-40B4-BE49-F238E27FC236}">
                <a16:creationId xmlns:a16="http://schemas.microsoft.com/office/drawing/2014/main" id="{283AA53C-33A4-4DA5-9E72-12C2883CAF2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937377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TopLineLeft">
            <a:extLst>
              <a:ext uri="{FF2B5EF4-FFF2-40B4-BE49-F238E27FC236}">
                <a16:creationId xmlns:a16="http://schemas.microsoft.com/office/drawing/2014/main" id="{D0F7ADBC-6D86-4EAD-85BB-DADD184C60B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6E3AEA7-76E4-4DBB-B219-BB82D650A1EE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6BBE091D-712C-4217-8ACC-0D726A9E4244}"/>
              </a:ext>
            </a:extLst>
          </p:cNvPr>
          <p:cNvSpPr txBox="1">
            <a:spLocks/>
          </p:cNvSpPr>
          <p:nvPr userDrawn="1"/>
        </p:nvSpPr>
        <p:spPr>
          <a:xfrm>
            <a:off x="567614" y="6528816"/>
            <a:ext cx="987450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vt. of the Punjab</a:t>
            </a:r>
          </a:p>
        </p:txBody>
      </p:sp>
    </p:spTree>
    <p:extLst>
      <p:ext uri="{BB962C8B-B14F-4D97-AF65-F5344CB8AC3E}">
        <p14:creationId xmlns:p14="http://schemas.microsoft.com/office/powerpoint/2010/main" val="18990180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519011"/>
            <a:ext cx="7918704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8" y="976471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AAD7185-9C2E-470E-957D-B21838859294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0201B559-53A5-4D8D-8C98-7ED52ACCCCB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9119861" y="937377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1BA93093-D8C7-45C3-AAB7-AF77483A9292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6BBE091D-712C-4217-8ACC-0D726A9E4244}"/>
              </a:ext>
            </a:extLst>
          </p:cNvPr>
          <p:cNvSpPr txBox="1">
            <a:spLocks/>
          </p:cNvSpPr>
          <p:nvPr userDrawn="1"/>
        </p:nvSpPr>
        <p:spPr>
          <a:xfrm>
            <a:off x="567614" y="6528816"/>
            <a:ext cx="987450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vt. of the Punjab</a:t>
            </a:r>
          </a:p>
        </p:txBody>
      </p:sp>
    </p:spTree>
    <p:extLst>
      <p:ext uri="{BB962C8B-B14F-4D97-AF65-F5344CB8AC3E}">
        <p14:creationId xmlns:p14="http://schemas.microsoft.com/office/powerpoint/2010/main" val="32116475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Defaul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7" imgW="413" imgH="416" progId="TCLayout.ActiveDocument.1">
                  <p:embed/>
                </p:oleObj>
              </mc:Choice>
              <mc:Fallback>
                <p:oleObj name="think-cell Slide" r:id="rId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386009" y="2979444"/>
            <a:ext cx="11332463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5"/>
            <a:ext cx="7277861" cy="12561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36F7A62-D82D-4AA6-A1AE-2AF515AD949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287338" y="6481763"/>
            <a:ext cx="2166937" cy="277812"/>
          </a:xfrm>
        </p:spPr>
        <p:txBody>
          <a:bodyPr/>
          <a:lstStyle>
            <a:lvl1pPr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76828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F9993B8-5743-4B3A-9BEF-DD9C57A04F7F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00485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4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4B8CE9-5DFA-4CF1-8FC7-FA2B4B760F22}" type="datetime1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AFDD3D-E1F5-4B3E-98E3-C7999D8EA3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7150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992187"/>
          </a:xfrm>
        </p:spPr>
        <p:txBody>
          <a:bodyPr anchor="b">
            <a:normAutofit/>
          </a:bodyPr>
          <a:lstStyle>
            <a:lvl1pPr algn="ctr">
              <a:defRPr sz="36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2276158"/>
            <a:ext cx="9144000" cy="478472"/>
          </a:xfrm>
        </p:spPr>
        <p:txBody>
          <a:bodyPr>
            <a:normAutofit/>
          </a:bodyPr>
          <a:lstStyle>
            <a:lvl1pPr marL="0" indent="0" algn="ctr">
              <a:buNone/>
              <a:defRPr sz="1400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537FB1-920D-4F7A-8DAF-C5C289E6B899}" type="datetime1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C354B-2232-4F2B-A118-E852E4C3330E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D55180A-1FD4-422C-9009-D896EEE715A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2099" y="3281998"/>
            <a:ext cx="1727802" cy="153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3181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6690" y="147955"/>
            <a:ext cx="11818620" cy="560705"/>
          </a:xfrm>
        </p:spPr>
        <p:txBody>
          <a:bodyPr>
            <a:normAutofit/>
          </a:bodyPr>
          <a:lstStyle>
            <a:lvl1pPr>
              <a:defRPr sz="2400" b="1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6690" y="880110"/>
            <a:ext cx="11818620" cy="529685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86690" y="6356350"/>
            <a:ext cx="3394710" cy="365125"/>
          </a:xfrm>
        </p:spPr>
        <p:txBody>
          <a:bodyPr/>
          <a:lstStyle/>
          <a:p>
            <a:fld id="{8D8C3136-4B8D-422C-B765-A2C2E3F8FE85}" type="datetime1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C354B-2232-4F2B-A118-E852E4C333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423431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06C3CB-1D12-4162-A205-D2C105B6B627}" type="datetime1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C354B-2232-4F2B-A118-E852E4C333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513123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3200" b="1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8128EC-38E3-4DF8-9335-974D6F125F2F}" type="datetime1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C354B-2232-4F2B-A118-E852E4C333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7380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7D73A2-D353-4A5B-AEBD-339915780F12}" type="datetime1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C354B-2232-4F2B-A118-E852E4C333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72436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35525E-C414-4D2D-8394-4A9D1AC9F016}" type="datetime1">
              <a:rPr lang="en-US" smtClean="0"/>
              <a:t>2/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C354B-2232-4F2B-A118-E852E4C333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31441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2C5D5D-68FB-4B3E-A4E3-EAFB1F8AB74E}" type="datetime1">
              <a:rPr lang="en-US" smtClean="0"/>
              <a:t>2/2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C354B-2232-4F2B-A118-E852E4C333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60478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3E6E6B-3121-40DB-ACCF-DBA930C9BC01}" type="datetime1">
              <a:rPr lang="en-US" smtClean="0"/>
              <a:t>2/2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C354B-2232-4F2B-A118-E852E4C333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5390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F8BFFC-FA93-4C66-9BDB-3BB105349F93}" type="datetime1">
              <a:rPr lang="en-US" smtClean="0"/>
              <a:t>2/2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C354B-2232-4F2B-A118-E852E4C333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912119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16741A-4CBE-4F1F-98A9-8CC1562FD559}" type="datetime1">
              <a:rPr lang="en-US" smtClean="0"/>
              <a:t>2/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C354B-2232-4F2B-A118-E852E4C333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48913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4000" b="1">
                <a:solidFill>
                  <a:schemeClr val="accent2">
                    <a:lumMod val="10000"/>
                    <a:lumOff val="9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E90ABE-4808-4D68-AF3B-BDAAD9F34373}" type="datetime1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AFDD3D-E1F5-4B3E-98E3-C7999D8EA3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18851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AD056D-9C7F-42DA-80B8-5DCBC5ACC88C}" type="datetime1">
              <a:rPr lang="en-US" smtClean="0"/>
              <a:t>2/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C354B-2232-4F2B-A118-E852E4C333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43037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9C0DEB-9F8D-407C-806B-CA0084E4A191}" type="datetime1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C354B-2232-4F2B-A118-E852E4C333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66014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295235-7110-4B9A-BFA1-C59EDAA4237A}" type="datetime1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C354B-2232-4F2B-A118-E852E4C333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37848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0049247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010" y="2002631"/>
            <a:ext cx="3450590" cy="2852737"/>
          </a:xfrm>
        </p:spPr>
        <p:txBody>
          <a:bodyPr anchor="ctr">
            <a:normAutofit/>
          </a:bodyPr>
          <a:lstStyle>
            <a:lvl1pPr algn="l">
              <a:defRPr sz="40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0D526-EACF-4F8F-9EA0-783DF3B13777}" type="datetime1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AFDD3D-E1F5-4B3E-98E3-C7999D8EA3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68288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F9993B8-5743-4B3A-9BEF-DD9C57A04F7F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63497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992187"/>
          </a:xfrm>
        </p:spPr>
        <p:txBody>
          <a:bodyPr anchor="b">
            <a:normAutofit/>
          </a:bodyPr>
          <a:lstStyle>
            <a:lvl1pPr algn="ctr">
              <a:defRPr sz="36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2276158"/>
            <a:ext cx="9144000" cy="478472"/>
          </a:xfrm>
        </p:spPr>
        <p:txBody>
          <a:bodyPr>
            <a:normAutofit/>
          </a:bodyPr>
          <a:lstStyle>
            <a:lvl1pPr marL="0" indent="0" algn="ctr">
              <a:buNone/>
              <a:defRPr sz="1400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A91624-FF71-4925-99FE-35C234FE3316}" type="datetime1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7F7B02-5E10-4BF3-8D84-D0C0CF77519C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D55180A-1FD4-422C-9009-D896EEE715A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2099" y="3281998"/>
            <a:ext cx="1727802" cy="153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483070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3127" y="249555"/>
            <a:ext cx="11585747" cy="560705"/>
          </a:xfrm>
        </p:spPr>
        <p:txBody>
          <a:bodyPr>
            <a:normAutofit/>
          </a:bodyPr>
          <a:lstStyle>
            <a:lvl1pPr>
              <a:defRPr sz="2400" b="1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3127" y="981710"/>
            <a:ext cx="11585747" cy="529685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86690" y="6356350"/>
            <a:ext cx="3394710" cy="365125"/>
          </a:xfrm>
        </p:spPr>
        <p:txBody>
          <a:bodyPr/>
          <a:lstStyle/>
          <a:p>
            <a:fld id="{19C135C7-AB24-4360-9F72-E8FCA6EA70F0}" type="datetime1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7F7B02-5E10-4BF3-8D84-D0C0CF7751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7356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DD96CB-9A57-494A-B797-6EFE3DFBE0B5}" type="datetime1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7F7B02-5E10-4BF3-8D84-D0C0CF7751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677100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3200" b="1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E4A05D-19E2-4AFA-BA2E-47E17F58288A}" type="datetime1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7F7B02-5E10-4BF3-8D84-D0C0CF7751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72254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807AC-4F3E-4A50-BC1B-09EB934E3443}" type="datetime1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AFDD3D-E1F5-4B3E-98E3-C7999D8EA3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76223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0218D-5A9E-4B3B-8DF7-930CAACCA09F}" type="datetime1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7F7B02-5E10-4BF3-8D84-D0C0CF7751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58204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7ACF7B-2922-4BF2-8386-9DF719EB15EB}" type="datetime1">
              <a:rPr lang="en-US" smtClean="0"/>
              <a:t>2/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7F7B02-5E10-4BF3-8D84-D0C0CF7751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55827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68FBF8-FFF2-42C7-B97A-8A6538BDF4F8}" type="datetime1">
              <a:rPr lang="en-US" smtClean="0"/>
              <a:t>2/2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7F7B02-5E10-4BF3-8D84-D0C0CF7751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297755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AA9866-642F-468A-B9D3-32E8EF6CE5F5}" type="datetime1">
              <a:rPr lang="en-US" smtClean="0"/>
              <a:t>2/2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7F7B02-5E10-4BF3-8D84-D0C0CF7751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792589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DB5819-5049-43B3-95B6-30285D144EBD}" type="datetime1">
              <a:rPr lang="en-US" smtClean="0"/>
              <a:t>2/2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7F7B02-5E10-4BF3-8D84-D0C0CF7751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8085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E50121-5875-4AA6-AF9C-E95828F87371}" type="datetime1">
              <a:rPr lang="en-US" smtClean="0"/>
              <a:t>2/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7F7B02-5E10-4BF3-8D84-D0C0CF7751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168010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04FE8B-B223-4E13-80BE-89E847D9FBED}" type="datetime1">
              <a:rPr lang="en-US" smtClean="0"/>
              <a:t>2/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7F7B02-5E10-4BF3-8D84-D0C0CF7751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12151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F40A8-1BCD-420F-96BC-BB411B24354A}" type="datetime1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7F7B02-5E10-4BF3-8D84-D0C0CF7751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233757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EDA30-87F9-4015-AF91-A0CEC41CD0B5}" type="datetime1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7F7B02-5E10-4BF3-8D84-D0C0CF7751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07960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2939089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CA82C5-1AD2-426B-9C9B-157ACE98E687}" type="datetime1">
              <a:rPr lang="en-US" smtClean="0"/>
              <a:t>2/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AFDD3D-E1F5-4B3E-98E3-C7999D8EA3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85628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992187"/>
          </a:xfrm>
        </p:spPr>
        <p:txBody>
          <a:bodyPr anchor="b">
            <a:normAutofit/>
          </a:bodyPr>
          <a:lstStyle>
            <a:lvl1pPr algn="ctr">
              <a:defRPr sz="36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2276158"/>
            <a:ext cx="9144000" cy="478472"/>
          </a:xfrm>
        </p:spPr>
        <p:txBody>
          <a:bodyPr>
            <a:normAutofit/>
          </a:bodyPr>
          <a:lstStyle>
            <a:lvl1pPr marL="0" indent="0" algn="ctr">
              <a:buNone/>
              <a:defRPr sz="1400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27016-6E41-4DF6-961B-15F699F8779B}" type="datetimeFigureOut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BDB5EB-A82E-431A-9853-39EE31BA75D7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D55180A-1FD4-422C-9009-D896EEE715A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2099" y="3281998"/>
            <a:ext cx="1727802" cy="153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7171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6690" y="147955"/>
            <a:ext cx="11818620" cy="560705"/>
          </a:xfrm>
        </p:spPr>
        <p:txBody>
          <a:bodyPr>
            <a:normAutofit/>
          </a:bodyPr>
          <a:lstStyle>
            <a:lvl1pPr>
              <a:defRPr sz="2400" b="1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6690" y="880110"/>
            <a:ext cx="11818620" cy="529685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86690" y="6356350"/>
            <a:ext cx="3394710" cy="365125"/>
          </a:xfrm>
        </p:spPr>
        <p:txBody>
          <a:bodyPr/>
          <a:lstStyle/>
          <a:p>
            <a:fld id="{5BC27016-6E41-4DF6-961B-15F699F8779B}" type="datetimeFigureOut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BDB5EB-A82E-431A-9853-39EE31BA75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658264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27016-6E41-4DF6-961B-15F699F8779B}" type="datetimeFigureOut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BDB5EB-A82E-431A-9853-39EE31BA75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704180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3200" b="1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27016-6E41-4DF6-961B-15F699F8779B}" type="datetimeFigureOut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BDB5EB-A82E-431A-9853-39EE31BA75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0965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27016-6E41-4DF6-961B-15F699F8779B}" type="datetimeFigureOut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BDB5EB-A82E-431A-9853-39EE31BA75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10842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27016-6E41-4DF6-961B-15F699F8779B}" type="datetimeFigureOut">
              <a:rPr lang="en-US" smtClean="0"/>
              <a:t>2/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BDB5EB-A82E-431A-9853-39EE31BA75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018201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27016-6E41-4DF6-961B-15F699F8779B}" type="datetimeFigureOut">
              <a:rPr lang="en-US" smtClean="0"/>
              <a:t>2/2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BDB5EB-A82E-431A-9853-39EE31BA75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807409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27016-6E41-4DF6-961B-15F699F8779B}" type="datetimeFigureOut">
              <a:rPr lang="en-US" smtClean="0"/>
              <a:t>2/2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BDB5EB-A82E-431A-9853-39EE31BA75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84892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27016-6E41-4DF6-961B-15F699F8779B}" type="datetimeFigureOut">
              <a:rPr lang="en-US" smtClean="0"/>
              <a:t>2/2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BDB5EB-A82E-431A-9853-39EE31BA75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540495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27016-6E41-4DF6-961B-15F699F8779B}" type="datetimeFigureOut">
              <a:rPr lang="en-US" smtClean="0"/>
              <a:t>2/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BDB5EB-A82E-431A-9853-39EE31BA75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95706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E9AE1B-BA3F-4E11-9BAC-C22470AB1A97}" type="datetime1">
              <a:rPr lang="en-US" smtClean="0"/>
              <a:t>2/2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AFDD3D-E1F5-4B3E-98E3-C7999D8EA3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8141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27016-6E41-4DF6-961B-15F699F8779B}" type="datetimeFigureOut">
              <a:rPr lang="en-US" smtClean="0"/>
              <a:t>2/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BDB5EB-A82E-431A-9853-39EE31BA75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180052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27016-6E41-4DF6-961B-15F699F8779B}" type="datetimeFigureOut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BDB5EB-A82E-431A-9853-39EE31BA75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857339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27016-6E41-4DF6-961B-15F699F8779B}" type="datetimeFigureOut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BDB5EB-A82E-431A-9853-39EE31BA75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693313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6733349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344A0E-74FD-49B6-902A-60C3D3E284A9}" type="datetime1">
              <a:rPr lang="en-US" smtClean="0"/>
              <a:t>2/2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AFDD3D-E1F5-4B3E-98E3-C7999D8EA3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22887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20A09-F1C2-4064-8135-C53319687697}" type="datetime1">
              <a:rPr lang="en-US" smtClean="0"/>
              <a:t>2/2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AFDD3D-E1F5-4B3E-98E3-C7999D8EA3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0572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7.xml"/><Relationship Id="rId26" Type="http://schemas.openxmlformats.org/officeDocument/2006/relationships/tags" Target="../tags/tag15.xml"/><Relationship Id="rId39" Type="http://schemas.openxmlformats.org/officeDocument/2006/relationships/oleObject" Target="../embeddings/oleObject2.bin"/><Relationship Id="rId21" Type="http://schemas.openxmlformats.org/officeDocument/2006/relationships/tags" Target="../tags/tag10.xml"/><Relationship Id="rId34" Type="http://schemas.openxmlformats.org/officeDocument/2006/relationships/tags" Target="../tags/tag23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vmlDrawing" Target="../drawings/vmlDrawing2.vml"/><Relationship Id="rId25" Type="http://schemas.openxmlformats.org/officeDocument/2006/relationships/tags" Target="../tags/tag14.xml"/><Relationship Id="rId33" Type="http://schemas.openxmlformats.org/officeDocument/2006/relationships/tags" Target="../tags/tag22.xml"/><Relationship Id="rId38" Type="http://schemas.openxmlformats.org/officeDocument/2006/relationships/tags" Target="../tags/tag27.xml"/><Relationship Id="rId2" Type="http://schemas.openxmlformats.org/officeDocument/2006/relationships/slideLayout" Target="../slideLayouts/slideLayout16.xml"/><Relationship Id="rId16" Type="http://schemas.openxmlformats.org/officeDocument/2006/relationships/theme" Target="../theme/theme2.xml"/><Relationship Id="rId20" Type="http://schemas.openxmlformats.org/officeDocument/2006/relationships/tags" Target="../tags/tag9.xml"/><Relationship Id="rId29" Type="http://schemas.openxmlformats.org/officeDocument/2006/relationships/tags" Target="../tags/tag18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3.xml"/><Relationship Id="rId32" Type="http://schemas.openxmlformats.org/officeDocument/2006/relationships/tags" Target="../tags/tag21.xml"/><Relationship Id="rId37" Type="http://schemas.openxmlformats.org/officeDocument/2006/relationships/tags" Target="../tags/tag26.xml"/><Relationship Id="rId40" Type="http://schemas.openxmlformats.org/officeDocument/2006/relationships/image" Target="../media/image3.emf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12.xml"/><Relationship Id="rId28" Type="http://schemas.openxmlformats.org/officeDocument/2006/relationships/tags" Target="../tags/tag17.xml"/><Relationship Id="rId36" Type="http://schemas.openxmlformats.org/officeDocument/2006/relationships/tags" Target="../tags/tag25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8.xml"/><Relationship Id="rId31" Type="http://schemas.openxmlformats.org/officeDocument/2006/relationships/tags" Target="../tags/tag20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1.xml"/><Relationship Id="rId27" Type="http://schemas.openxmlformats.org/officeDocument/2006/relationships/tags" Target="../tags/tag16.xml"/><Relationship Id="rId30" Type="http://schemas.openxmlformats.org/officeDocument/2006/relationships/tags" Target="../tags/tag19.xml"/><Relationship Id="rId35" Type="http://schemas.openxmlformats.org/officeDocument/2006/relationships/tags" Target="../tags/tag24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0" y="653891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40B1D7-71D3-46CE-9331-64EA9C41A394}" type="datetime1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53891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53891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AFDD3D-E1F5-4B3E-98E3-C7999D8EA3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1498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39" imgW="413" imgH="416" progId="TCLayout.ActiveDocument.1">
                  <p:embed/>
                </p:oleObj>
              </mc:Choice>
              <mc:Fallback>
                <p:oleObj name="think-cell Slide" r:id="rId3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203200" marR="0" lvl="0" indent="-212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554736" y="172212"/>
            <a:ext cx="10160065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/>
        </p:nvSpPr>
        <p:spPr>
          <a:xfrm>
            <a:off x="554736" y="12892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bove Chart Exhibit 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6017DE47-4B7E-4602-A5D8-84F1D054B685}"/>
              </a:ext>
            </a:extLst>
          </p:cNvPr>
          <p:cNvGrpSpPr/>
          <p:nvPr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E773DEB-38A3-4D4F-8F3A-7DED71AB991A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0BBD940B-C7B3-42F9-A317-3A6409A75F43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C26E9D6E-D5B2-4063-BC7C-9B64A65F12D6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D75199AB-4672-4D43-A550-E0AD095E38D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C54E0345-E77E-4F4E-A6DE-370FD26C583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6EF73E9A-1D4C-4C71-AC42-915A9A82D8E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293BE944-4FB1-49E4-A46A-DFB832FADF2D}"/>
              </a:ext>
            </a:extLst>
          </p:cNvPr>
          <p:cNvGrpSpPr/>
          <p:nvPr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7C824262-8989-4B2D-8DBF-135E9E168DBC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F6423FB4-50F6-480B-81B0-87D1466FC3D9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F5CAFF64-59BF-4FFA-A7EC-6C6AB587CFFB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16DCA56E-1BE7-44F5-B451-C39F813FE2B6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115CD1D8-A840-4C47-8BAE-4755ADB1023C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98251E0D-E6AA-48B7-9F7E-F065654B0419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2BCBBD5C-74E4-49E5-AB9C-046CC11FD95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A7671A9-71DB-43E2-9D83-DE6CB521F4F4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E4E3E41D-ACEE-448A-9712-FCB4DC84E263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3A14524F-36B3-4640-BB23-FC333438437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6B313E13-C478-43A9-8722-8D490DFC9F2B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346CEEAD-EB0F-4654-9B74-E9B88E15E92E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F1CCE464-A935-45D5-9DD2-6FD002E2E10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F06CB200-3A1A-467F-8166-1307ABD2F9DA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A3F57F0F-CFB6-4459-98C3-704A188C1688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36A70474-5B3B-4D05-B276-92201F90794C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47F3DF-D57B-42D9-97F5-DF93588DD451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B7E58BBA-E347-43CE-AC2B-53B1091EB4FF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08C970BA-BB1D-41DF-BB7E-F37715E023C2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BB43699A-A93F-40F4-B94F-5ACC3FC7A2B3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AAAA3D2-18E4-48C0-BE83-DB21A10DD202}"/>
              </a:ext>
            </a:extLst>
          </p:cNvPr>
          <p:cNvGrpSpPr/>
          <p:nvPr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7F691D58-858A-4AA0-AF95-9DAF892CEC9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6DACF4A1-1081-4AC1-9D47-12E01E2521AD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D1B52631-B18F-4E3B-9E20-D5DE506756B1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0074E8A9-58EF-400E-9311-7E77FC619AA5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CAB53C7B-2604-409C-ACAB-B85D0279EDA6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DABF097C-99AD-454B-88C9-800E2199292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04348013-5D9A-49E0-853F-523527ACCE23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2F54CB71-C033-4B3C-B037-1A95FC3C56A9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A9A3FC63-A72C-490E-BC2F-EB378B726610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8ABE5E40-BFBB-4D07-A6EF-7D8CAAAD21BC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sp>
        <p:nvSpPr>
          <p:cNvPr id="14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23"/>
            </p:custDataLst>
          </p:nvPr>
        </p:nvSpPr>
        <p:spPr bwMode="black">
          <a:xfrm>
            <a:off x="11312525" y="64987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48" name="Footer Placeholder 5">
            <a:extLst>
              <a:ext uri="{FF2B5EF4-FFF2-40B4-BE49-F238E27FC236}">
                <a16:creationId xmlns:a16="http://schemas.microsoft.com/office/drawing/2014/main" id="{6BBE091D-712C-4217-8ACC-0D726A9E4244}"/>
              </a:ext>
            </a:extLst>
          </p:cNvPr>
          <p:cNvSpPr txBox="1">
            <a:spLocks/>
          </p:cNvSpPr>
          <p:nvPr/>
        </p:nvSpPr>
        <p:spPr>
          <a:xfrm>
            <a:off x="567614" y="6528816"/>
            <a:ext cx="987450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vt. of the Punjab</a:t>
            </a:r>
          </a:p>
        </p:txBody>
      </p:sp>
    </p:spTree>
    <p:extLst>
      <p:ext uri="{BB962C8B-B14F-4D97-AF65-F5344CB8AC3E}">
        <p14:creationId xmlns:p14="http://schemas.microsoft.com/office/powerpoint/2010/main" val="509934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2" orient="horz" pos="3912">
          <p15:clr>
            <a:srgbClr val="5ACBF0"/>
          </p15:clr>
        </p15:guide>
        <p15:guide id="3" orient="horz" pos="1075">
          <p15:clr>
            <a:srgbClr val="F26B43"/>
          </p15:clr>
        </p15:guide>
        <p15:guide id="4" pos="7329">
          <p15:clr>
            <a:srgbClr val="F26B43"/>
          </p15:clr>
        </p15:guide>
        <p15:guide id="5" pos="345">
          <p15:clr>
            <a:srgbClr val="F26B43"/>
          </p15:clr>
        </p15:guide>
        <p15:guide id="6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0" y="653891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0905D6-C8DC-4BF4-A221-787BC9EC493C}" type="datetime1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51478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7C354B-2232-4F2B-A118-E852E4C333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737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  <p:sldLayoutId id="2147483718" r:id="rId15"/>
    <p:sldLayoutId id="2147483719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0" y="653891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CDBC22-6CFE-489E-8D65-4989EFE3CDF6}" type="datetime1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51478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7F7B02-5E10-4BF3-8D84-D0C0CF7751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224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0" y="653891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C27016-6E41-4DF6-961B-15F699F8779B}" type="datetimeFigureOut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51478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BDB5EB-A82E-431A-9853-39EE31BA75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8867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  <p:sldLayoutId id="2147483768" r:id="rId13"/>
    <p:sldLayoutId id="2147483769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18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4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5.svg"/><Relationship Id="rId7" Type="http://schemas.openxmlformats.org/officeDocument/2006/relationships/image" Target="../media/image29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25.png"/><Relationship Id="rId5" Type="http://schemas.openxmlformats.org/officeDocument/2006/relationships/image" Target="../media/image27.svg"/><Relationship Id="rId4" Type="http://schemas.openxmlformats.org/officeDocument/2006/relationships/image" Target="../media/image24.png"/><Relationship Id="rId9" Type="http://schemas.openxmlformats.org/officeDocument/2006/relationships/image" Target="../media/image31.sv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6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4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B16CBE8-FFEC-7A78-BF60-4EA6226E88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800" y="1122363"/>
            <a:ext cx="10535920" cy="992187"/>
          </a:xfrm>
        </p:spPr>
        <p:txBody>
          <a:bodyPr>
            <a:normAutofit/>
          </a:bodyPr>
          <a:lstStyle/>
          <a:p>
            <a:r>
              <a:rPr lang="en-US" dirty="0"/>
              <a:t>Benazir Bhutto Hospital, Rawalpindi</a:t>
            </a:r>
            <a:endParaRPr lang="en-PK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EF41A8FC-9F71-9503-73B7-0FF42FCE9FA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Specialized Healthcare and Medical Education Department</a:t>
            </a:r>
            <a:endParaRPr lang="en-PK" sz="1800" dirty="0"/>
          </a:p>
        </p:txBody>
      </p:sp>
      <p:sp>
        <p:nvSpPr>
          <p:cNvPr id="6" name="Subtitle 4">
            <a:extLst>
              <a:ext uri="{FF2B5EF4-FFF2-40B4-BE49-F238E27FC236}">
                <a16:creationId xmlns:a16="http://schemas.microsoft.com/office/drawing/2014/main" id="{E01E3A17-A6A5-01E6-0D75-B67718854E30}"/>
              </a:ext>
            </a:extLst>
          </p:cNvPr>
          <p:cNvSpPr txBox="1">
            <a:spLocks/>
          </p:cNvSpPr>
          <p:nvPr/>
        </p:nvSpPr>
        <p:spPr>
          <a:xfrm>
            <a:off x="1524000" y="5083835"/>
            <a:ext cx="9144000" cy="478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i="1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i="0" dirty="0"/>
              <a:t>February 2024</a:t>
            </a:r>
            <a:endParaRPr lang="en-PK" sz="1600" i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A52862B-54B3-F331-86A9-54B6D83744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AFDD3D-E1F5-4B3E-98E3-C7999D8EA36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0435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080A47-F6CD-60D9-1F5A-80EC926FDA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127" y="168275"/>
            <a:ext cx="11585747" cy="560705"/>
          </a:xfrm>
        </p:spPr>
        <p:txBody>
          <a:bodyPr/>
          <a:lstStyle/>
          <a:p>
            <a:r>
              <a:rPr lang="en-US" dirty="0"/>
              <a:t>Before Revamping, the facility looked like this…</a:t>
            </a:r>
            <a:endParaRPr lang="en-P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8F0E9F-0124-E7DB-8A8F-E184C72582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7F7B02-5E10-4BF3-8D84-D0C0CF77519C}" type="slidenum">
              <a:rPr lang="en-US" smtClean="0"/>
              <a:t>10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835" y="1590810"/>
            <a:ext cx="5479309" cy="398267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590809"/>
            <a:ext cx="5479309" cy="3982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43677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080A47-F6CD-60D9-1F5A-80EC926FDA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127" y="168275"/>
            <a:ext cx="11585747" cy="560705"/>
          </a:xfrm>
        </p:spPr>
        <p:txBody>
          <a:bodyPr/>
          <a:lstStyle/>
          <a:p>
            <a:r>
              <a:rPr lang="en-US" dirty="0"/>
              <a:t>Before Revamping, the facility looked like this…</a:t>
            </a:r>
            <a:endParaRPr lang="en-P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8F0E9F-0124-E7DB-8A8F-E184C72582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7F7B02-5E10-4BF3-8D84-D0C0CF77519C}" type="slidenum">
              <a:rPr lang="en-US" smtClean="0"/>
              <a:t>11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479" y="984590"/>
            <a:ext cx="5479308" cy="5274582"/>
          </a:xfrm>
          <a:prstGeom prst="rect">
            <a:avLst/>
          </a:prstGeom>
        </p:spPr>
      </p:pic>
      <p:pic>
        <p:nvPicPr>
          <p:cNvPr id="8" name="Picture 7" descr="A staircase with metal railings&#10;&#10;Description automatically generated">
            <a:extLst>
              <a:ext uri="{FF2B5EF4-FFF2-40B4-BE49-F238E27FC236}">
                <a16:creationId xmlns:a16="http://schemas.microsoft.com/office/drawing/2014/main" id="{5A96BCFF-B905-04DA-B3A2-5396573EFC7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1" y="984590"/>
            <a:ext cx="4778828" cy="5274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5727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9D7A5B2-8E9B-1B66-0003-FAE88ADC20B5}"/>
              </a:ext>
            </a:extLst>
          </p:cNvPr>
          <p:cNvSpPr/>
          <p:nvPr/>
        </p:nvSpPr>
        <p:spPr>
          <a:xfrm>
            <a:off x="859240" y="1107513"/>
            <a:ext cx="10468665" cy="51318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B51AEC-C1FD-A1CA-6ECA-7FA8607F6B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90" y="147956"/>
            <a:ext cx="12005310" cy="576618"/>
          </a:xfrm>
        </p:spPr>
        <p:txBody>
          <a:bodyPr/>
          <a:lstStyle/>
          <a:p>
            <a:r>
              <a:rPr lang="en-US" sz="3200" dirty="0">
                <a:solidFill>
                  <a:schemeClr val="accent1"/>
                </a:solidFill>
              </a:rPr>
              <a:t>476 Million </a:t>
            </a:r>
            <a:r>
              <a:rPr lang="en-US" sz="2400" dirty="0"/>
              <a:t>PKR has been invested in Revamping of the Hospita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8254E00-5CCE-ED47-D93F-C0422FA3030A}"/>
              </a:ext>
            </a:extLst>
          </p:cNvPr>
          <p:cNvSpPr/>
          <p:nvPr/>
        </p:nvSpPr>
        <p:spPr>
          <a:xfrm>
            <a:off x="6805596" y="2188039"/>
            <a:ext cx="3004457" cy="12503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pital Investmen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90EDFA-A23B-1343-A398-FB07A056C764}"/>
              </a:ext>
            </a:extLst>
          </p:cNvPr>
          <p:cNvSpPr/>
          <p:nvPr/>
        </p:nvSpPr>
        <p:spPr>
          <a:xfrm>
            <a:off x="6595524" y="3705162"/>
            <a:ext cx="3509977" cy="12503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venue Investmen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A54D9F6-D2ED-9FC2-7BC8-F893ECC79244}"/>
              </a:ext>
            </a:extLst>
          </p:cNvPr>
          <p:cNvSpPr/>
          <p:nvPr/>
        </p:nvSpPr>
        <p:spPr>
          <a:xfrm>
            <a:off x="3441080" y="2137843"/>
            <a:ext cx="3694923" cy="12503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dirty="0">
                <a:solidFill>
                  <a:srgbClr val="008000"/>
                </a:solidFill>
                <a:latin typeface="Arial" panose="020B0604020202020204"/>
              </a:rPr>
              <a:t>379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ill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7B2D3D4-D1D7-CC5F-E3F2-0CCBEAF1774B}"/>
              </a:ext>
            </a:extLst>
          </p:cNvPr>
          <p:cNvSpPr/>
          <p:nvPr/>
        </p:nvSpPr>
        <p:spPr>
          <a:xfrm>
            <a:off x="3483768" y="3718037"/>
            <a:ext cx="3694923" cy="12503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dirty="0">
                <a:solidFill>
                  <a:srgbClr val="008000"/>
                </a:solidFill>
                <a:latin typeface="Arial" panose="020B0604020202020204"/>
              </a:rPr>
              <a:t>97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illion</a:t>
            </a:r>
          </a:p>
        </p:txBody>
      </p:sp>
      <p:pic>
        <p:nvPicPr>
          <p:cNvPr id="8" name="Graphic 7" descr="Crane">
            <a:extLst>
              <a:ext uri="{FF2B5EF4-FFF2-40B4-BE49-F238E27FC236}">
                <a16:creationId xmlns:a16="http://schemas.microsoft.com/office/drawing/2014/main" id="{EA583BE0-8875-65B4-81E6-39BE584F61C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324735" y="2327588"/>
            <a:ext cx="773850" cy="7738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B3A5A9C-D018-C217-6025-3D8F94CF1BDE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5D4"/>
              </a:clrFrom>
              <a:clrTo>
                <a:srgbClr val="FFF5D4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367826" y="3926074"/>
            <a:ext cx="740203" cy="773851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1C23A73-6EC0-3F78-A459-F1B4B06E9F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AFDD3D-E1F5-4B3E-98E3-C7999D8EA36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37331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6397FC-EBE8-2F7A-DED9-2D722C4D2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ope of Revamping of Benazir Bhutto Hospital</a:t>
            </a:r>
            <a:endParaRPr lang="en-PK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BF5AEC3-5021-87B6-7766-5CE69C0D1BFA}"/>
              </a:ext>
            </a:extLst>
          </p:cNvPr>
          <p:cNvSpPr/>
          <p:nvPr/>
        </p:nvSpPr>
        <p:spPr>
          <a:xfrm>
            <a:off x="4318000" y="413043"/>
            <a:ext cx="3556000" cy="29876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ctr" defTabSz="914400" rtl="0" eaLnBrk="1" fontAlgn="auto" latinLnBrk="0" hangingPunct="1">
              <a:lnSpc>
                <a:spcPct val="2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000" b="1" dirty="0">
              <a:solidFill>
                <a:prstClr val="black"/>
              </a:solidFill>
            </a:endParaRPr>
          </a:p>
          <a:p>
            <a:pPr marR="0" lvl="0" algn="ctr" defTabSz="914400" rtl="0" eaLnBrk="1" fontAlgn="auto" latinLnBrk="0" hangingPunct="1">
              <a:lnSpc>
                <a:spcPct val="2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000" b="1" dirty="0">
                <a:solidFill>
                  <a:prstClr val="black"/>
                </a:solidFill>
              </a:rPr>
              <a:t>Revamping of OP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E595C4E-EB4B-8F58-DEEC-8EC13A6C720A}"/>
              </a:ext>
            </a:extLst>
          </p:cNvPr>
          <p:cNvSpPr/>
          <p:nvPr/>
        </p:nvSpPr>
        <p:spPr>
          <a:xfrm>
            <a:off x="8308466" y="413043"/>
            <a:ext cx="3556000" cy="29876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ctr" defTabSz="914400" rtl="0" eaLnBrk="1" fontAlgn="auto" latinLnBrk="0" hangingPunct="1">
              <a:lnSpc>
                <a:spcPct val="2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000" b="1" dirty="0">
              <a:solidFill>
                <a:prstClr val="black"/>
              </a:solidFill>
            </a:endParaRPr>
          </a:p>
          <a:p>
            <a:pPr marR="0" lvl="0" algn="ctr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000" b="1" dirty="0">
              <a:solidFill>
                <a:prstClr val="black"/>
              </a:solidFill>
            </a:endParaRPr>
          </a:p>
          <a:p>
            <a:pPr marR="0" lvl="0" algn="ctr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000" b="1" dirty="0">
                <a:solidFill>
                  <a:prstClr val="black"/>
                </a:solidFill>
              </a:rPr>
              <a:t>Revamping of Psychiatry &amp; </a:t>
            </a:r>
          </a:p>
          <a:p>
            <a:pPr marR="0" lvl="0" algn="ctr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000" b="1" dirty="0">
                <a:solidFill>
                  <a:prstClr val="black"/>
                </a:solidFill>
              </a:rPr>
              <a:t>Physiotherapy Departmen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066022A-43D1-ED2C-DD34-6E7245F1447C}"/>
              </a:ext>
            </a:extLst>
          </p:cNvPr>
          <p:cNvSpPr/>
          <p:nvPr/>
        </p:nvSpPr>
        <p:spPr>
          <a:xfrm>
            <a:off x="4318000" y="3629769"/>
            <a:ext cx="3556000" cy="29876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ctr" defTabSz="914400" rtl="0" eaLnBrk="1" fontAlgn="auto" latinLnBrk="0" hangingPunct="1">
              <a:lnSpc>
                <a:spcPct val="2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b="1" dirty="0">
              <a:solidFill>
                <a:prstClr val="black"/>
              </a:solidFill>
            </a:endParaRPr>
          </a:p>
          <a:p>
            <a:pPr marR="0" lvl="0" algn="ctr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b="1" dirty="0">
              <a:solidFill>
                <a:prstClr val="black"/>
              </a:solidFill>
            </a:endParaRPr>
          </a:p>
          <a:p>
            <a:pPr marR="0" lvl="0" algn="ctr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b="1" dirty="0">
                <a:solidFill>
                  <a:prstClr val="black"/>
                </a:solidFill>
              </a:rPr>
              <a:t>Provision of critical biomedical &amp; non biomedical equipmen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14C0579-197E-416D-286F-BB86BCEF5EEF}"/>
              </a:ext>
            </a:extLst>
          </p:cNvPr>
          <p:cNvSpPr/>
          <p:nvPr/>
        </p:nvSpPr>
        <p:spPr>
          <a:xfrm>
            <a:off x="8308466" y="3629769"/>
            <a:ext cx="3556000" cy="29876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ctr" defTabSz="914400" rtl="0" eaLnBrk="1" fontAlgn="auto" latinLnBrk="0" hangingPunct="1">
              <a:lnSpc>
                <a:spcPct val="2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b="1" dirty="0">
              <a:solidFill>
                <a:prstClr val="black"/>
              </a:solidFill>
            </a:endParaRPr>
          </a:p>
          <a:p>
            <a:pPr marR="0" lvl="0" algn="ctr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000" b="1" dirty="0">
              <a:solidFill>
                <a:prstClr val="black"/>
              </a:solidFill>
            </a:endParaRPr>
          </a:p>
          <a:p>
            <a:pPr marR="0" lvl="0" algn="ctr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000" b="1" dirty="0">
                <a:solidFill>
                  <a:prstClr val="black"/>
                </a:solidFill>
              </a:rPr>
              <a:t>External Area </a:t>
            </a:r>
          </a:p>
          <a:p>
            <a:pPr marR="0" lvl="0" algn="ctr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000" b="1" dirty="0">
                <a:solidFill>
                  <a:prstClr val="black"/>
                </a:solidFill>
              </a:rPr>
              <a:t>Development</a:t>
            </a:r>
          </a:p>
        </p:txBody>
      </p:sp>
      <p:pic>
        <p:nvPicPr>
          <p:cNvPr id="23" name="Graphic 22" descr="Medical with solid fill">
            <a:extLst>
              <a:ext uri="{FF2B5EF4-FFF2-40B4-BE49-F238E27FC236}">
                <a16:creationId xmlns:a16="http://schemas.microsoft.com/office/drawing/2014/main" id="{7B8403A5-DE92-1002-2EF3-664D1CA0E7A5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683914" y="1027020"/>
            <a:ext cx="879859" cy="879859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EB518F-82AC-BB1E-A2A4-32BA894DFC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AFDD3D-E1F5-4B3E-98E3-C7999D8EA369}" type="slidenum">
              <a:rPr lang="en-US" smtClean="0"/>
              <a:t>13</a:t>
            </a:fld>
            <a:endParaRPr lang="en-US"/>
          </a:p>
        </p:txBody>
      </p:sp>
      <p:pic>
        <p:nvPicPr>
          <p:cNvPr id="6" name="Graphic 5" descr="Crane">
            <a:extLst>
              <a:ext uri="{FF2B5EF4-FFF2-40B4-BE49-F238E27FC236}">
                <a16:creationId xmlns:a16="http://schemas.microsoft.com/office/drawing/2014/main" id="{47FD23B3-32DA-2B1E-D2A6-5BCA3B60DD2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5698773" y="988828"/>
            <a:ext cx="794404" cy="794404"/>
          </a:xfrm>
          <a:prstGeom prst="rect">
            <a:avLst/>
          </a:prstGeom>
        </p:spPr>
      </p:pic>
      <p:pic>
        <p:nvPicPr>
          <p:cNvPr id="8" name="Graphic 7" descr="Hospital with solid fill">
            <a:extLst>
              <a:ext uri="{FF2B5EF4-FFF2-40B4-BE49-F238E27FC236}">
                <a16:creationId xmlns:a16="http://schemas.microsoft.com/office/drawing/2014/main" id="{5655A1D2-689D-AA1A-4342-FC0A8ABD75FD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683914" y="4320680"/>
            <a:ext cx="805103" cy="805103"/>
          </a:xfrm>
          <a:prstGeom prst="rect">
            <a:avLst/>
          </a:prstGeom>
        </p:spPr>
      </p:pic>
      <p:pic>
        <p:nvPicPr>
          <p:cNvPr id="9" name="Graphic 8" descr="Stethoscope with solid fill">
            <a:extLst>
              <a:ext uri="{FF2B5EF4-FFF2-40B4-BE49-F238E27FC236}">
                <a16:creationId xmlns:a16="http://schemas.microsoft.com/office/drawing/2014/main" id="{A80E40B4-C9A9-6B04-D88D-6B382A449821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5705422" y="426188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37236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117FF9-2256-C164-F9AF-0FB6DC9F4C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227C4A-390A-9D40-46F6-12E3393314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Current State of Benazir Bhutto Hospital – </a:t>
            </a:r>
            <a:r>
              <a:rPr lang="en-US" dirty="0">
                <a:solidFill>
                  <a:schemeClr val="accent1"/>
                </a:solidFill>
              </a:rPr>
              <a:t>After</a:t>
            </a:r>
            <a:r>
              <a:rPr lang="en-US" dirty="0"/>
              <a:t> Revamping</a:t>
            </a:r>
            <a:endParaRPr lang="en-P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17607B-8FD9-1DFC-BDAF-C4232D6CE2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AFDD3D-E1F5-4B3E-98E3-C7999D8EA369}" type="slidenum">
              <a:rPr lang="en-US" smtClean="0"/>
              <a:t>14</a:t>
            </a:fld>
            <a:endParaRPr lang="en-US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4229" y="892174"/>
            <a:ext cx="12157771" cy="5965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1229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41E20E-F4E1-17B0-0E9F-BC2B3D4A3A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547EC9-864C-27C1-FF60-B6EFC3F57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Current State of Benazir Bhutto Hospital – </a:t>
            </a:r>
            <a:r>
              <a:rPr lang="en-US" dirty="0">
                <a:solidFill>
                  <a:schemeClr val="accent1"/>
                </a:solidFill>
              </a:rPr>
              <a:t>After</a:t>
            </a:r>
            <a:r>
              <a:rPr lang="en-US" dirty="0"/>
              <a:t> Revamping</a:t>
            </a:r>
            <a:endParaRPr lang="en-P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F483C1-668C-5994-69E3-2FE574559C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AFDD3D-E1F5-4B3E-98E3-C7999D8EA369}" type="slidenum">
              <a:rPr lang="en-US" smtClean="0"/>
              <a:t>15</a:t>
            </a:fld>
            <a:endParaRPr lang="en-US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892174"/>
            <a:ext cx="12192000" cy="5965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3923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Current State of Benazir Bhutto Hospital – </a:t>
            </a:r>
            <a:r>
              <a:rPr lang="en-US" dirty="0">
                <a:solidFill>
                  <a:schemeClr val="accent1"/>
                </a:solidFill>
              </a:rPr>
              <a:t>After</a:t>
            </a:r>
            <a:r>
              <a:rPr lang="en-US" dirty="0"/>
              <a:t> Revamping</a:t>
            </a:r>
            <a:endParaRPr lang="en-GB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892174"/>
            <a:ext cx="12192000" cy="5965825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AFDD3D-E1F5-4B3E-98E3-C7999D8EA369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36365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9900CA-902E-225D-23D5-CD8FE04FF1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State of Benazir Bhutto Hospital – </a:t>
            </a:r>
            <a:r>
              <a:rPr lang="en-US" dirty="0">
                <a:solidFill>
                  <a:schemeClr val="accent1"/>
                </a:solidFill>
              </a:rPr>
              <a:t>After</a:t>
            </a:r>
            <a:r>
              <a:rPr lang="en-US" dirty="0"/>
              <a:t> Revamping</a:t>
            </a:r>
            <a:endParaRPr lang="en-P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D8F505-B391-996C-B05B-A28DCE0920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AFDD3D-E1F5-4B3E-98E3-C7999D8EA369}" type="slidenum">
              <a:rPr lang="en-US" smtClean="0"/>
              <a:t>17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DD0C90E-0328-9A04-A7F1-4FA30060FA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49" y="977449"/>
            <a:ext cx="12024114" cy="5775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9937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E1D0AC-35DB-70E4-0EBF-AF6B374D33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Current State of Benazir Bhutto Hospital – </a:t>
            </a:r>
            <a:r>
              <a:rPr lang="en-US" dirty="0">
                <a:solidFill>
                  <a:schemeClr val="accent1"/>
                </a:solidFill>
              </a:rPr>
              <a:t>After</a:t>
            </a:r>
            <a:r>
              <a:rPr lang="en-US" dirty="0"/>
              <a:t> Revamping</a:t>
            </a:r>
            <a:endParaRPr lang="en-PK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7C0A01AC-BA4C-91A7-2DEF-8F02673A9E3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9348"/>
            <a:ext cx="12192000" cy="5868651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695A8B-8A29-1665-FEBE-23C013894F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AFDD3D-E1F5-4B3E-98E3-C7999D8EA369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59515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CED3F3-6960-27C2-F81E-2494AEC78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State of Benazir Bhutto Hospital – </a:t>
            </a:r>
            <a:r>
              <a:rPr lang="en-US" dirty="0">
                <a:solidFill>
                  <a:schemeClr val="accent1"/>
                </a:solidFill>
              </a:rPr>
              <a:t>After</a:t>
            </a:r>
            <a:r>
              <a:rPr lang="en-US" dirty="0"/>
              <a:t> Revamping</a:t>
            </a:r>
            <a:endParaRPr lang="en-P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CC75E3-3AFA-93BE-5078-60E4031AB7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AFDD3D-E1F5-4B3E-98E3-C7999D8EA369}" type="slidenum">
              <a:rPr lang="en-US" smtClean="0"/>
              <a:t>19</a:t>
            </a:fld>
            <a:endParaRPr lang="en-US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699246"/>
            <a:ext cx="6014504" cy="615875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26968" y="685800"/>
            <a:ext cx="6065031" cy="6172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9887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C04B8C-53A4-ED52-C7B9-2C64AFAD1A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nazir Bhutto Hospital, Rawalpindi</a:t>
            </a:r>
            <a:endParaRPr lang="en-PK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6B555456-F18A-7B5C-2B2F-403E272D1B0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40" y="1385729"/>
            <a:ext cx="11704320" cy="429768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0CF7F3-F7D4-5A6F-4172-20D9ABC2FC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AFDD3D-E1F5-4B3E-98E3-C7999D8EA369}" type="slidenum">
              <a:rPr lang="en-US" smtClean="0"/>
              <a:t>2</a:t>
            </a:fld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03AF18F-BE48-D641-2442-CFFD51FEF9C2}"/>
              </a:ext>
            </a:extLst>
          </p:cNvPr>
          <p:cNvSpPr/>
          <p:nvPr/>
        </p:nvSpPr>
        <p:spPr>
          <a:xfrm>
            <a:off x="4389859" y="2968830"/>
            <a:ext cx="2766289" cy="2782594"/>
          </a:xfrm>
          <a:prstGeom prst="ellipse">
            <a:avLst/>
          </a:prstGeom>
          <a:solidFill>
            <a:srgbClr val="FFFF00">
              <a:alpha val="25000"/>
            </a:srgbClr>
          </a:solidFill>
          <a:ln w="571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1174F1A-FE07-0AD1-638F-232A6DC72D4A}"/>
              </a:ext>
            </a:extLst>
          </p:cNvPr>
          <p:cNvSpPr/>
          <p:nvPr/>
        </p:nvSpPr>
        <p:spPr>
          <a:xfrm>
            <a:off x="3702394" y="4870979"/>
            <a:ext cx="4787211" cy="47228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Emergency</a:t>
            </a:r>
          </a:p>
          <a:p>
            <a:pPr algn="ctr"/>
            <a:r>
              <a:rPr lang="en-US" sz="1400" b="1" dirty="0"/>
              <a:t>PKR 100 Million invested, functionalized already</a:t>
            </a:r>
            <a:endParaRPr lang="en-PK" sz="1400" b="1" dirty="0"/>
          </a:p>
        </p:txBody>
      </p:sp>
    </p:spTree>
    <p:extLst>
      <p:ext uri="{BB962C8B-B14F-4D97-AF65-F5344CB8AC3E}">
        <p14:creationId xmlns:p14="http://schemas.microsoft.com/office/powerpoint/2010/main" val="25046839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C406A5-AAE1-412B-6FC9-5A5ECF61EA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D477FE-BD61-8AB1-44CC-F54A98D192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State of Benazir Bhutto Hospital – </a:t>
            </a:r>
            <a:r>
              <a:rPr lang="en-US" dirty="0">
                <a:solidFill>
                  <a:schemeClr val="accent1"/>
                </a:solidFill>
              </a:rPr>
              <a:t>After</a:t>
            </a:r>
            <a:r>
              <a:rPr lang="en-US" dirty="0"/>
              <a:t> Revamping</a:t>
            </a:r>
            <a:endParaRPr lang="en-P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055E00-9938-D561-90C5-DB19A6A474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AFDD3D-E1F5-4B3E-98E3-C7999D8EA369}" type="slidenum">
              <a:rPr lang="en-US" smtClean="0"/>
              <a:t>20</a:t>
            </a:fld>
            <a:endParaRPr lang="en-US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F5F542A4-B1B6-D4B1-F3FE-BF7D7B217DF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406" y="941882"/>
            <a:ext cx="4450645" cy="5864775"/>
          </a:xfr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51204" y="909509"/>
            <a:ext cx="7140795" cy="5883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95298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 of Benazir Bhutto Hospital, Rawalpindi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FFDD043-E368-4EB5-DBB0-457A4CFECE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0510984"/>
              </p:ext>
            </p:extLst>
          </p:nvPr>
        </p:nvGraphicFramePr>
        <p:xfrm>
          <a:off x="354330" y="988558"/>
          <a:ext cx="5055870" cy="5325155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2981920">
                  <a:extLst>
                    <a:ext uri="{9D8B030D-6E8A-4147-A177-3AD203B41FA5}">
                      <a16:colId xmlns:a16="http://schemas.microsoft.com/office/drawing/2014/main" val="3274075701"/>
                    </a:ext>
                  </a:extLst>
                </a:gridCol>
                <a:gridCol w="2073950">
                  <a:extLst>
                    <a:ext uri="{9D8B030D-6E8A-4147-A177-3AD203B41FA5}">
                      <a16:colId xmlns:a16="http://schemas.microsoft.com/office/drawing/2014/main" val="732500315"/>
                    </a:ext>
                  </a:extLst>
                </a:gridCol>
              </a:tblGrid>
              <a:tr h="58092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otal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8207196"/>
                  </a:ext>
                </a:extLst>
              </a:tr>
              <a:tr h="677747">
                <a:tc>
                  <a:txBody>
                    <a:bodyPr/>
                    <a:lstStyle/>
                    <a:p>
                      <a:r>
                        <a:rPr lang="en-US" b="1" dirty="0"/>
                        <a:t>Beds (Sanctioned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,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54234089"/>
                  </a:ext>
                </a:extLst>
              </a:tr>
              <a:tr h="677747">
                <a:tc>
                  <a:txBody>
                    <a:bodyPr/>
                    <a:lstStyle/>
                    <a:p>
                      <a:r>
                        <a:rPr lang="en-US" b="1" dirty="0"/>
                        <a:t>Clinical HR</a:t>
                      </a:r>
                      <a:endParaRPr lang="en-US" sz="1400" b="1" i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,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12671445"/>
                  </a:ext>
                </a:extLst>
              </a:tr>
              <a:tr h="677747">
                <a:tc>
                  <a:txBody>
                    <a:bodyPr/>
                    <a:lstStyle/>
                    <a:p>
                      <a:r>
                        <a:rPr lang="en-US" b="1" dirty="0"/>
                        <a:t>Departments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63569500"/>
                  </a:ext>
                </a:extLst>
              </a:tr>
              <a:tr h="677747">
                <a:tc>
                  <a:txBody>
                    <a:bodyPr/>
                    <a:lstStyle/>
                    <a:p>
                      <a:r>
                        <a:rPr lang="en-US" b="1" dirty="0"/>
                        <a:t>Specialti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30645548"/>
                  </a:ext>
                </a:extLst>
              </a:tr>
              <a:tr h="677747">
                <a:tc>
                  <a:txBody>
                    <a:bodyPr/>
                    <a:lstStyle/>
                    <a:p>
                      <a:r>
                        <a:rPr lang="en-US" b="1" dirty="0"/>
                        <a:t>Blocks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97767716"/>
                  </a:ext>
                </a:extLst>
              </a:tr>
              <a:tr h="677747">
                <a:tc>
                  <a:txBody>
                    <a:bodyPr/>
                    <a:lstStyle/>
                    <a:p>
                      <a:r>
                        <a:rPr lang="en-US" b="1" dirty="0"/>
                        <a:t>OTs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9445871"/>
                  </a:ext>
                </a:extLst>
              </a:tr>
              <a:tr h="677747">
                <a:tc>
                  <a:txBody>
                    <a:bodyPr/>
                    <a:lstStyle/>
                    <a:p>
                      <a:r>
                        <a:rPr lang="en-US" b="1" dirty="0"/>
                        <a:t>Labs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18273974"/>
                  </a:ext>
                </a:extLst>
              </a:tr>
            </a:tbl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0570FDA3-94A3-0D1F-1A6D-B9FAE4C338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78894" y="1131009"/>
            <a:ext cx="6105903" cy="4917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16571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 of Benazir Bhutto Hospital, Rawalpindi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219319"/>
              </p:ext>
            </p:extLst>
          </p:nvPr>
        </p:nvGraphicFramePr>
        <p:xfrm>
          <a:off x="186690" y="1106449"/>
          <a:ext cx="5212624" cy="5433057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2984734">
                  <a:extLst>
                    <a:ext uri="{9D8B030D-6E8A-4147-A177-3AD203B41FA5}">
                      <a16:colId xmlns:a16="http://schemas.microsoft.com/office/drawing/2014/main" val="1349352190"/>
                    </a:ext>
                  </a:extLst>
                </a:gridCol>
                <a:gridCol w="2227890">
                  <a:extLst>
                    <a:ext uri="{9D8B030D-6E8A-4147-A177-3AD203B41FA5}">
                      <a16:colId xmlns:a16="http://schemas.microsoft.com/office/drawing/2014/main" val="1662751789"/>
                    </a:ext>
                  </a:extLst>
                </a:gridCol>
              </a:tblGrid>
              <a:tr h="948629"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Daily Average</a:t>
                      </a:r>
                      <a:r>
                        <a:rPr lang="en-US" sz="1600" baseline="0" dirty="0"/>
                        <a:t> </a:t>
                      </a:r>
                      <a:endParaRPr lang="en-US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51901883"/>
                  </a:ext>
                </a:extLst>
              </a:tr>
              <a:tr h="948629">
                <a:tc>
                  <a:txBody>
                    <a:bodyPr/>
                    <a:lstStyle/>
                    <a:p>
                      <a:pPr algn="l"/>
                      <a:r>
                        <a:rPr lang="en-US" sz="1600" b="1" dirty="0"/>
                        <a:t>OPD Patients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2974</a:t>
                      </a:r>
                      <a:endParaRPr lang="en-US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79243625"/>
                  </a:ext>
                </a:extLst>
              </a:tr>
              <a:tr h="948629">
                <a:tc>
                  <a:txBody>
                    <a:bodyPr/>
                    <a:lstStyle/>
                    <a:p>
                      <a:pPr algn="l"/>
                      <a:r>
                        <a:rPr lang="en-US" sz="1600" b="1" dirty="0"/>
                        <a:t>IPD Patients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~ </a:t>
                      </a:r>
                      <a:r>
                        <a:rPr lang="en-US" sz="1600" dirty="0" smtClean="0"/>
                        <a:t>196</a:t>
                      </a:r>
                      <a:endParaRPr lang="en-US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38882279"/>
                  </a:ext>
                </a:extLst>
              </a:tr>
              <a:tr h="948629">
                <a:tc>
                  <a:txBody>
                    <a:bodyPr/>
                    <a:lstStyle/>
                    <a:p>
                      <a:pPr algn="l"/>
                      <a:r>
                        <a:rPr lang="en-US" sz="1600" b="1" dirty="0"/>
                        <a:t>Emergency Patients</a:t>
                      </a:r>
                      <a:r>
                        <a:rPr lang="en-US" sz="1600" b="1" baseline="0" dirty="0"/>
                        <a:t> </a:t>
                      </a:r>
                      <a:endParaRPr lang="en-US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~ </a:t>
                      </a:r>
                      <a:r>
                        <a:rPr lang="en-US" sz="1600" dirty="0" smtClean="0"/>
                        <a:t>1,985</a:t>
                      </a:r>
                      <a:endParaRPr lang="en-US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54098633"/>
                  </a:ext>
                </a:extLst>
              </a:tr>
              <a:tr h="1638541">
                <a:tc>
                  <a:txBody>
                    <a:bodyPr/>
                    <a:lstStyle/>
                    <a:p>
                      <a:pPr algn="l"/>
                      <a:r>
                        <a:rPr lang="en-US" sz="1600" b="1" dirty="0"/>
                        <a:t>Total Surgeries / Procedures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~ </a:t>
                      </a:r>
                      <a:r>
                        <a:rPr lang="en-US" sz="1600" dirty="0" smtClean="0"/>
                        <a:t>42</a:t>
                      </a:r>
                      <a:endParaRPr lang="en-US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53578594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86690" y="708660"/>
            <a:ext cx="30572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rvice Delivery Overview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100AC62-3698-C992-576B-BDECBD4387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328975"/>
              </p:ext>
            </p:extLst>
          </p:nvPr>
        </p:nvGraphicFramePr>
        <p:xfrm>
          <a:off x="5715006" y="1110471"/>
          <a:ext cx="6131278" cy="5429036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2358048">
                  <a:extLst>
                    <a:ext uri="{9D8B030D-6E8A-4147-A177-3AD203B41FA5}">
                      <a16:colId xmlns:a16="http://schemas.microsoft.com/office/drawing/2014/main" val="276372874"/>
                    </a:ext>
                  </a:extLst>
                </a:gridCol>
                <a:gridCol w="1886615">
                  <a:extLst>
                    <a:ext uri="{9D8B030D-6E8A-4147-A177-3AD203B41FA5}">
                      <a16:colId xmlns:a16="http://schemas.microsoft.com/office/drawing/2014/main" val="3891082951"/>
                    </a:ext>
                  </a:extLst>
                </a:gridCol>
                <a:gridCol w="1886615">
                  <a:extLst>
                    <a:ext uri="{9D8B030D-6E8A-4147-A177-3AD203B41FA5}">
                      <a16:colId xmlns:a16="http://schemas.microsoft.com/office/drawing/2014/main" val="3049584794"/>
                    </a:ext>
                  </a:extLst>
                </a:gridCol>
              </a:tblGrid>
              <a:tr h="925256"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Total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Daily Average Utilization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56899034"/>
                  </a:ext>
                </a:extLst>
              </a:tr>
              <a:tr h="900756">
                <a:tc>
                  <a:txBody>
                    <a:bodyPr/>
                    <a:lstStyle/>
                    <a:p>
                      <a:pPr algn="l"/>
                      <a:r>
                        <a:rPr lang="en-US" sz="1600" b="1" dirty="0"/>
                        <a:t>X-Ray Machines</a:t>
                      </a:r>
                      <a:r>
                        <a:rPr lang="en-US" sz="1600" b="1" baseline="0" dirty="0"/>
                        <a:t> </a:t>
                      </a:r>
                      <a:endParaRPr lang="en-US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~ 38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19267053"/>
                  </a:ext>
                </a:extLst>
              </a:tr>
              <a:tr h="900756">
                <a:tc>
                  <a:txBody>
                    <a:bodyPr/>
                    <a:lstStyle/>
                    <a:p>
                      <a:pPr algn="l"/>
                      <a:r>
                        <a:rPr lang="en-US" sz="1600" b="1" dirty="0"/>
                        <a:t>CT Scan Machines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0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~ </a:t>
                      </a:r>
                      <a:r>
                        <a:rPr lang="en-US" sz="1600" dirty="0" smtClean="0"/>
                        <a:t>72</a:t>
                      </a:r>
                      <a:endParaRPr lang="en-US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91014999"/>
                  </a:ext>
                </a:extLst>
              </a:tr>
              <a:tr h="900756">
                <a:tc>
                  <a:txBody>
                    <a:bodyPr/>
                    <a:lstStyle/>
                    <a:p>
                      <a:pPr algn="l"/>
                      <a:r>
                        <a:rPr lang="en-US" sz="1600" b="1" dirty="0"/>
                        <a:t>ECGs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4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~ 11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48565738"/>
                  </a:ext>
                </a:extLst>
              </a:tr>
              <a:tr h="900756">
                <a:tc>
                  <a:txBody>
                    <a:bodyPr/>
                    <a:lstStyle/>
                    <a:p>
                      <a:pPr algn="l"/>
                      <a:r>
                        <a:rPr lang="en-US" sz="1600" b="1" dirty="0"/>
                        <a:t>Ultrasounds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~ </a:t>
                      </a:r>
                      <a:r>
                        <a:rPr lang="en-US" sz="1600" dirty="0" smtClean="0"/>
                        <a:t>259</a:t>
                      </a:r>
                      <a:endParaRPr lang="en-US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07659278"/>
                  </a:ext>
                </a:extLst>
              </a:tr>
              <a:tr h="900756">
                <a:tc>
                  <a:txBody>
                    <a:bodyPr/>
                    <a:lstStyle/>
                    <a:p>
                      <a:pPr algn="l"/>
                      <a:r>
                        <a:rPr lang="en-US" sz="1600" b="1" dirty="0"/>
                        <a:t>Pathology Labs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0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~ 4,09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07567140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713D5BF2-844C-1256-820E-4477A8B3F9AB}"/>
              </a:ext>
            </a:extLst>
          </p:cNvPr>
          <p:cNvSpPr txBox="1"/>
          <p:nvPr/>
        </p:nvSpPr>
        <p:spPr>
          <a:xfrm>
            <a:off x="5715006" y="708660"/>
            <a:ext cx="25186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agnostic Overview</a:t>
            </a:r>
          </a:p>
        </p:txBody>
      </p:sp>
    </p:spTree>
    <p:extLst>
      <p:ext uri="{BB962C8B-B14F-4D97-AF65-F5344CB8AC3E}">
        <p14:creationId xmlns:p14="http://schemas.microsoft.com/office/powerpoint/2010/main" val="4462217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7F7B02-5E10-4BF3-8D84-D0C0CF77519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022659" y="1782370"/>
            <a:ext cx="10146681" cy="329325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b="1" dirty="0">
                <a:solidFill>
                  <a:prstClr val="white"/>
                </a:solidFill>
                <a:latin typeface="Arial" panose="020B0604020202020204"/>
              </a:rPr>
              <a:t> The current government initiated the revamping of Benazir Bhutto Hospital, Rawalpindi in 2023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Frame 6"/>
          <p:cNvSpPr/>
          <p:nvPr/>
        </p:nvSpPr>
        <p:spPr>
          <a:xfrm>
            <a:off x="646979" y="1447849"/>
            <a:ext cx="10898039" cy="3962300"/>
          </a:xfrm>
          <a:prstGeom prst="frame">
            <a:avLst>
              <a:gd name="adj1" fmla="val 5058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5064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E5E764-4C9D-5CB3-6FF1-9F209FF90E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D7FB20-DAA9-EA7B-148E-057F8FE97C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nazir Bhutto Hospital</a:t>
            </a:r>
            <a:r>
              <a:rPr lang="en-US"/>
              <a:t>, Rawalpindi</a:t>
            </a:r>
            <a:endParaRPr lang="en-PK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2D8EEAD7-BF08-B543-B30F-A6C5BA89917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40" y="1385729"/>
            <a:ext cx="11704320" cy="429768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18D3B2-D9AC-54A8-2DFB-897B155AB9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AFDD3D-E1F5-4B3E-98E3-C7999D8EA369}" type="slidenum">
              <a:rPr lang="en-US" smtClean="0"/>
              <a:t>4</a:t>
            </a:fld>
            <a:endParaRPr lang="en-US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62A3D15C-5805-B2AA-D00A-C901BF26F2F2}"/>
              </a:ext>
            </a:extLst>
          </p:cNvPr>
          <p:cNvSpPr/>
          <p:nvPr/>
        </p:nvSpPr>
        <p:spPr>
          <a:xfrm>
            <a:off x="8649391" y="2240446"/>
            <a:ext cx="2766289" cy="2782594"/>
          </a:xfrm>
          <a:prstGeom prst="ellipse">
            <a:avLst/>
          </a:prstGeom>
          <a:solidFill>
            <a:srgbClr val="FFFF00">
              <a:alpha val="25000"/>
            </a:srgbClr>
          </a:solidFill>
          <a:ln w="571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K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4A291F0-12FE-560F-FF5E-60F37F36A3F6}"/>
              </a:ext>
            </a:extLst>
          </p:cNvPr>
          <p:cNvSpPr/>
          <p:nvPr/>
        </p:nvSpPr>
        <p:spPr>
          <a:xfrm>
            <a:off x="8702036" y="4502820"/>
            <a:ext cx="2660997" cy="426965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Today’s inauguration </a:t>
            </a:r>
            <a:endParaRPr lang="en-PK" sz="1400" b="1" dirty="0"/>
          </a:p>
        </p:txBody>
      </p:sp>
    </p:spTree>
    <p:extLst>
      <p:ext uri="{BB962C8B-B14F-4D97-AF65-F5344CB8AC3E}">
        <p14:creationId xmlns:p14="http://schemas.microsoft.com/office/powerpoint/2010/main" val="42026775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080A47-F6CD-60D9-1F5A-80EC926FDA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127" y="168275"/>
            <a:ext cx="11585747" cy="560705"/>
          </a:xfrm>
        </p:spPr>
        <p:txBody>
          <a:bodyPr/>
          <a:lstStyle/>
          <a:p>
            <a:r>
              <a:rPr lang="en-US" dirty="0"/>
              <a:t>Before Revamping, the facility looked like this…</a:t>
            </a:r>
            <a:endParaRPr lang="en-P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8F0E9F-0124-E7DB-8A8F-E184C72582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7F7B02-5E10-4BF3-8D84-D0C0CF77519C}" type="slidenum">
              <a:rPr lang="en-US" smtClean="0"/>
              <a:t>5</a:t>
            </a:fld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906" y="1509258"/>
            <a:ext cx="5582094" cy="4200390"/>
          </a:xfrm>
          <a:prstGeom prst="rect">
            <a:avLst/>
          </a:prstGeom>
        </p:spPr>
      </p:pic>
      <p:pic>
        <p:nvPicPr>
          <p:cNvPr id="28" name="Picture 27" descr="A room with white cabinets and a light on the floor&#10;&#10;Description automatically generated">
            <a:extLst>
              <a:ext uri="{FF2B5EF4-FFF2-40B4-BE49-F238E27FC236}">
                <a16:creationId xmlns:a16="http://schemas.microsoft.com/office/drawing/2014/main" id="{25C8FF8C-1BB1-012C-6D57-65CB5B9D592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6780" y="1509258"/>
            <a:ext cx="5582093" cy="4200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73871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080A47-F6CD-60D9-1F5A-80EC926FDA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127" y="168275"/>
            <a:ext cx="11585747" cy="560705"/>
          </a:xfrm>
        </p:spPr>
        <p:txBody>
          <a:bodyPr/>
          <a:lstStyle/>
          <a:p>
            <a:r>
              <a:rPr lang="en-US" dirty="0"/>
              <a:t>Before Revamping, the facility looked like this…</a:t>
            </a:r>
            <a:endParaRPr lang="en-P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8F0E9F-0124-E7DB-8A8F-E184C72582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7F7B02-5E10-4BF3-8D84-D0C0CF77519C}" type="slidenum">
              <a:rPr lang="en-US" smtClean="0"/>
              <a:t>6</a:t>
            </a:fld>
            <a:endParaRPr lang="en-US"/>
          </a:p>
        </p:txBody>
      </p:sp>
      <p:pic>
        <p:nvPicPr>
          <p:cNvPr id="22" name="Picture 21" descr="A room with a broken cabinet and shelves&#10;&#10;Description automatically generated with medium confidence">
            <a:extLst>
              <a:ext uri="{FF2B5EF4-FFF2-40B4-BE49-F238E27FC236}">
                <a16:creationId xmlns:a16="http://schemas.microsoft.com/office/drawing/2014/main" id="{FD010BAF-11B3-B00D-1442-36120E19AA2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76257" y="995637"/>
            <a:ext cx="4760729" cy="5519144"/>
          </a:xfrm>
          <a:prstGeom prst="rect">
            <a:avLst/>
          </a:prstGeom>
        </p:spPr>
      </p:pic>
      <p:pic>
        <p:nvPicPr>
          <p:cNvPr id="24" name="Picture 23" descr="A room with a sink and a window&#10;&#10;Description automatically generated">
            <a:extLst>
              <a:ext uri="{FF2B5EF4-FFF2-40B4-BE49-F238E27FC236}">
                <a16:creationId xmlns:a16="http://schemas.microsoft.com/office/drawing/2014/main" id="{2A9B741C-4909-F2EB-1AD5-53E13E0AEBF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8959" y="995637"/>
            <a:ext cx="4760729" cy="5519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281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080A47-F6CD-60D9-1F5A-80EC926FDA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127" y="168275"/>
            <a:ext cx="11585747" cy="560705"/>
          </a:xfrm>
        </p:spPr>
        <p:txBody>
          <a:bodyPr/>
          <a:lstStyle/>
          <a:p>
            <a:r>
              <a:rPr lang="en-US" dirty="0"/>
              <a:t>Before Revamping, the facility looked like this…</a:t>
            </a:r>
            <a:endParaRPr lang="en-P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8F0E9F-0124-E7DB-8A8F-E184C72582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7F7B02-5E10-4BF3-8D84-D0C0CF77519C}" type="slidenum">
              <a:rPr lang="en-US" smtClean="0"/>
              <a:t>7</a:t>
            </a:fld>
            <a:endParaRPr lang="en-US"/>
          </a:p>
        </p:txBody>
      </p:sp>
      <p:pic>
        <p:nvPicPr>
          <p:cNvPr id="29" name="Picture 28" descr="A room with a table and a staircase&#10;&#10;Description automatically generated">
            <a:extLst>
              <a:ext uri="{FF2B5EF4-FFF2-40B4-BE49-F238E27FC236}">
                <a16:creationId xmlns:a16="http://schemas.microsoft.com/office/drawing/2014/main" id="{A73A040A-2CF4-F8F7-58EC-93E89B5DF8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302" y="995638"/>
            <a:ext cx="5355012" cy="5694086"/>
          </a:xfrm>
          <a:prstGeom prst="rect">
            <a:avLst/>
          </a:prstGeom>
        </p:spPr>
      </p:pic>
      <p:pic>
        <p:nvPicPr>
          <p:cNvPr id="7" name="Picture 6" descr="A long hallway with a few windows&#10;&#10;Description automatically generated">
            <a:extLst>
              <a:ext uri="{FF2B5EF4-FFF2-40B4-BE49-F238E27FC236}">
                <a16:creationId xmlns:a16="http://schemas.microsoft.com/office/drawing/2014/main" id="{B7F11847-34E7-BD82-6A3A-003441ED11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5501" y="995637"/>
            <a:ext cx="5355012" cy="5694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792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080A47-F6CD-60D9-1F5A-80EC926FDA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127" y="168275"/>
            <a:ext cx="11585747" cy="560705"/>
          </a:xfrm>
        </p:spPr>
        <p:txBody>
          <a:bodyPr/>
          <a:lstStyle/>
          <a:p>
            <a:r>
              <a:rPr lang="en-US" dirty="0"/>
              <a:t>Before Revamping, the facility looked like this…</a:t>
            </a:r>
            <a:endParaRPr lang="en-P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8F0E9F-0124-E7DB-8A8F-E184C72582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7F7B02-5E10-4BF3-8D84-D0C0CF77519C}" type="slidenum">
              <a:rPr lang="en-US" smtClean="0"/>
              <a:t>8</a:t>
            </a:fld>
            <a:endParaRPr lang="en-US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87DF3330-5C35-D255-FF03-C75FA835EE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7032" y="1511640"/>
            <a:ext cx="5561842" cy="4228124"/>
          </a:xfrm>
          <a:prstGeom prst="rect">
            <a:avLst/>
          </a:prstGeom>
        </p:spPr>
      </p:pic>
      <p:pic>
        <p:nvPicPr>
          <p:cNvPr id="9" name="Picture 8" descr="A room with a door open&#10;&#10;Description automatically generated">
            <a:extLst>
              <a:ext uri="{FF2B5EF4-FFF2-40B4-BE49-F238E27FC236}">
                <a16:creationId xmlns:a16="http://schemas.microsoft.com/office/drawing/2014/main" id="{FBEEF9A6-1927-4547-D5C5-77E5373F30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158" y="1511640"/>
            <a:ext cx="5561842" cy="4228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247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080A47-F6CD-60D9-1F5A-80EC926FDA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127" y="168275"/>
            <a:ext cx="11585747" cy="560705"/>
          </a:xfrm>
        </p:spPr>
        <p:txBody>
          <a:bodyPr/>
          <a:lstStyle/>
          <a:p>
            <a:r>
              <a:rPr lang="en-US" dirty="0"/>
              <a:t>Before Revamping, the facility looked like this…</a:t>
            </a:r>
            <a:endParaRPr lang="en-P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8F0E9F-0124-E7DB-8A8F-E184C72582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7F7B02-5E10-4BF3-8D84-D0C0CF77519C}" type="slidenum">
              <a:rPr lang="en-US" smtClean="0"/>
              <a:t>9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627CE44-21EC-C713-3426-E1162E36F0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301" y="915896"/>
            <a:ext cx="5582094" cy="5411972"/>
          </a:xfrm>
          <a:prstGeom prst="rect">
            <a:avLst/>
          </a:prstGeom>
        </p:spPr>
      </p:pic>
      <p:pic>
        <p:nvPicPr>
          <p:cNvPr id="11" name="Picture 10" descr="A long hallway with a door and a table&#10;&#10;Description automatically generated">
            <a:extLst>
              <a:ext uri="{FF2B5EF4-FFF2-40B4-BE49-F238E27FC236}">
                <a16:creationId xmlns:a16="http://schemas.microsoft.com/office/drawing/2014/main" id="{E1F56FC6-9A0C-2305-17DA-1497A3502C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915896"/>
            <a:ext cx="5174512" cy="5465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2614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Custom GoPB">
  <a:themeElements>
    <a:clrScheme name="Custom 21">
      <a:dk1>
        <a:sysClr val="windowText" lastClr="000000"/>
      </a:dk1>
      <a:lt1>
        <a:sysClr val="window" lastClr="FFFFFF"/>
      </a:lt1>
      <a:dk2>
        <a:srgbClr val="222A35"/>
      </a:dk2>
      <a:lt2>
        <a:srgbClr val="E7E6E6"/>
      </a:lt2>
      <a:accent1>
        <a:srgbClr val="008000"/>
      </a:accent1>
      <a:accent2>
        <a:srgbClr val="003300"/>
      </a:accent2>
      <a:accent3>
        <a:srgbClr val="FF0000"/>
      </a:accent3>
      <a:accent4>
        <a:srgbClr val="339933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ustom GoPB" id="{6E42A562-C558-44A2-AF20-BB8513F87B79}" vid="{4491562C-A918-4256-BA32-EFB52DDF9997}"/>
    </a:ext>
  </a:extLst>
</a:theme>
</file>

<file path=ppt/theme/theme2.xml><?xml version="1.0" encoding="utf-8"?>
<a:theme xmlns:a="http://schemas.openxmlformats.org/drawingml/2006/main" name="39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6837"/>
      </a:accent1>
      <a:accent2>
        <a:srgbClr val="4B9506"/>
      </a:accent2>
      <a:accent3>
        <a:srgbClr val="57AE07"/>
      </a:accent3>
      <a:accent4>
        <a:srgbClr val="74D41C"/>
      </a:accent4>
      <a:accent5>
        <a:srgbClr val="004614"/>
      </a:accent5>
      <a:accent6>
        <a:srgbClr val="4D4D4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6837"/>
        </a:accent1>
        <a:accent2>
          <a:srgbClr val="4B9506"/>
        </a:accent2>
        <a:accent3>
          <a:srgbClr val="57AE07"/>
        </a:accent3>
        <a:accent4>
          <a:srgbClr val="74D41C"/>
        </a:accent4>
        <a:accent5>
          <a:srgbClr val="004614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C3922E"/>
    </a:custClr>
  </a:custClrLst>
  <a:extLst>
    <a:ext uri="{05A4C25C-085E-4340-85A3-A5531E510DB2}">
      <thm15:themeFamily xmlns:thm15="http://schemas.microsoft.com/office/thememl/2012/main" name="KR0137_CF (v4)" id="{C8437B25-9804-4200-B650-2144F1B4888E}" vid="{6B64B7AF-1F53-4991-B3BB-A5097C8BA4EA}"/>
    </a:ext>
  </a:extLst>
</a:theme>
</file>

<file path=ppt/theme/theme3.xml><?xml version="1.0" encoding="utf-8"?>
<a:theme xmlns:a="http://schemas.openxmlformats.org/drawingml/2006/main" name="1_Custom GoPb">
  <a:themeElements>
    <a:clrScheme name="Custom 4">
      <a:dk1>
        <a:sysClr val="windowText" lastClr="000000"/>
      </a:dk1>
      <a:lt1>
        <a:sysClr val="window" lastClr="FFFFFF"/>
      </a:lt1>
      <a:dk2>
        <a:srgbClr val="003300"/>
      </a:dk2>
      <a:lt2>
        <a:srgbClr val="E7E6E6"/>
      </a:lt2>
      <a:accent1>
        <a:srgbClr val="008000"/>
      </a:accent1>
      <a:accent2>
        <a:srgbClr val="006666"/>
      </a:accent2>
      <a:accent3>
        <a:srgbClr val="002060"/>
      </a:accent3>
      <a:accent4>
        <a:srgbClr val="FF0000"/>
      </a:accent4>
      <a:accent5>
        <a:srgbClr val="FFFF00"/>
      </a:accent5>
      <a:accent6>
        <a:srgbClr val="9CAF88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ustom GoPb" id="{D64BF66B-70AD-4635-83E2-2741437B5E7A}" vid="{14971C8C-0681-4C30-8BD7-A5624BB8B89F}"/>
    </a:ext>
  </a:extLst>
</a:theme>
</file>

<file path=ppt/theme/theme4.xml><?xml version="1.0" encoding="utf-8"?>
<a:theme xmlns:a="http://schemas.openxmlformats.org/drawingml/2006/main" name="2_Custom GoPb">
  <a:themeElements>
    <a:clrScheme name="Custom 4">
      <a:dk1>
        <a:sysClr val="windowText" lastClr="000000"/>
      </a:dk1>
      <a:lt1>
        <a:sysClr val="window" lastClr="FFFFFF"/>
      </a:lt1>
      <a:dk2>
        <a:srgbClr val="003300"/>
      </a:dk2>
      <a:lt2>
        <a:srgbClr val="E7E6E6"/>
      </a:lt2>
      <a:accent1>
        <a:srgbClr val="008000"/>
      </a:accent1>
      <a:accent2>
        <a:srgbClr val="006666"/>
      </a:accent2>
      <a:accent3>
        <a:srgbClr val="002060"/>
      </a:accent3>
      <a:accent4>
        <a:srgbClr val="FF0000"/>
      </a:accent4>
      <a:accent5>
        <a:srgbClr val="FFFF00"/>
      </a:accent5>
      <a:accent6>
        <a:srgbClr val="9CAF88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ustom GoPb" id="{D64BF66B-70AD-4635-83E2-2741437B5E7A}" vid="{14971C8C-0681-4C30-8BD7-A5624BB8B89F}"/>
    </a:ext>
  </a:extLst>
</a:theme>
</file>

<file path=ppt/theme/theme5.xml><?xml version="1.0" encoding="utf-8"?>
<a:theme xmlns:a="http://schemas.openxmlformats.org/drawingml/2006/main" name="3_Custom GoPb">
  <a:themeElements>
    <a:clrScheme name="Custom 4">
      <a:dk1>
        <a:sysClr val="windowText" lastClr="000000"/>
      </a:dk1>
      <a:lt1>
        <a:sysClr val="window" lastClr="FFFFFF"/>
      </a:lt1>
      <a:dk2>
        <a:srgbClr val="003300"/>
      </a:dk2>
      <a:lt2>
        <a:srgbClr val="E7E6E6"/>
      </a:lt2>
      <a:accent1>
        <a:srgbClr val="008000"/>
      </a:accent1>
      <a:accent2>
        <a:srgbClr val="006666"/>
      </a:accent2>
      <a:accent3>
        <a:srgbClr val="002060"/>
      </a:accent3>
      <a:accent4>
        <a:srgbClr val="FF0000"/>
      </a:accent4>
      <a:accent5>
        <a:srgbClr val="FFFF00"/>
      </a:accent5>
      <a:accent6>
        <a:srgbClr val="9CAF88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ustom GoPb" id="{D64BF66B-70AD-4635-83E2-2741437B5E7A}" vid="{14971C8C-0681-4C30-8BD7-A5624BB8B89F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05</TotalTime>
  <Words>325</Words>
  <Application>Microsoft Office PowerPoint</Application>
  <PresentationFormat>Widescreen</PresentationFormat>
  <Paragraphs>107</Paragraphs>
  <Slides>2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2" baseType="lpstr">
      <vt:lpstr>Arial</vt:lpstr>
      <vt:lpstr>Calibri</vt:lpstr>
      <vt:lpstr>Segoe UI</vt:lpstr>
      <vt:lpstr>Wingdings</vt:lpstr>
      <vt:lpstr>Custom GoPB</vt:lpstr>
      <vt:lpstr>39_White</vt:lpstr>
      <vt:lpstr>1_Custom GoPb</vt:lpstr>
      <vt:lpstr>2_Custom GoPb</vt:lpstr>
      <vt:lpstr>3_Custom GoPb</vt:lpstr>
      <vt:lpstr>think-cell Slide</vt:lpstr>
      <vt:lpstr>Benazir Bhutto Hospital, Rawalpindi</vt:lpstr>
      <vt:lpstr>Benazir Bhutto Hospital, Rawalpindi</vt:lpstr>
      <vt:lpstr>PowerPoint Presentation</vt:lpstr>
      <vt:lpstr>Benazir Bhutto Hospital, Rawalpindi</vt:lpstr>
      <vt:lpstr>Before Revamping, the facility looked like this…</vt:lpstr>
      <vt:lpstr>Before Revamping, the facility looked like this…</vt:lpstr>
      <vt:lpstr>Before Revamping, the facility looked like this…</vt:lpstr>
      <vt:lpstr>Before Revamping, the facility looked like this…</vt:lpstr>
      <vt:lpstr>Before Revamping, the facility looked like this…</vt:lpstr>
      <vt:lpstr>Before Revamping, the facility looked like this…</vt:lpstr>
      <vt:lpstr>Before Revamping, the facility looked like this…</vt:lpstr>
      <vt:lpstr>476 Million PKR has been invested in Revamping of the Hospital</vt:lpstr>
      <vt:lpstr>Scope of Revamping of Benazir Bhutto Hospital</vt:lpstr>
      <vt:lpstr>Current State of Benazir Bhutto Hospital – After Revamping</vt:lpstr>
      <vt:lpstr>Current State of Benazir Bhutto Hospital – After Revamping</vt:lpstr>
      <vt:lpstr>Current State of Benazir Bhutto Hospital – After Revamping</vt:lpstr>
      <vt:lpstr>Current State of Benazir Bhutto Hospital – After Revamping</vt:lpstr>
      <vt:lpstr>Current State of Benazir Bhutto Hospital – After Revamping</vt:lpstr>
      <vt:lpstr>Current State of Benazir Bhutto Hospital – After Revamping</vt:lpstr>
      <vt:lpstr>Current State of Benazir Bhutto Hospital – After Revamping</vt:lpstr>
      <vt:lpstr>Overview of Benazir Bhutto Hospital, Rawalpindi</vt:lpstr>
      <vt:lpstr>Overview of Benazir Bhutto Hospital, Rawalpindi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ishtar II</dc:title>
  <dc:creator>Unknown</dc:creator>
  <cp:lastModifiedBy>Dr.Inayat</cp:lastModifiedBy>
  <cp:revision>74</cp:revision>
  <dcterms:created xsi:type="dcterms:W3CDTF">2023-11-25T05:40:04Z</dcterms:created>
  <dcterms:modified xsi:type="dcterms:W3CDTF">2024-02-02T13:29:28Z</dcterms:modified>
</cp:coreProperties>
</file>